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  <p:sldMasterId id="2147483675" r:id="rId2"/>
    <p:sldMasterId id="2147483687" r:id="rId3"/>
    <p:sldMasterId id="2147483699" r:id="rId4"/>
  </p:sldMasterIdLst>
  <p:notesMasterIdLst>
    <p:notesMasterId r:id="rId48"/>
  </p:notesMasterIdLst>
  <p:sldIdLst>
    <p:sldId id="260" r:id="rId5"/>
    <p:sldId id="259" r:id="rId6"/>
    <p:sldId id="262" r:id="rId7"/>
    <p:sldId id="290" r:id="rId8"/>
    <p:sldId id="296" r:id="rId9"/>
    <p:sldId id="297" r:id="rId10"/>
    <p:sldId id="298" r:id="rId11"/>
    <p:sldId id="299" r:id="rId12"/>
    <p:sldId id="257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83" r:id="rId23"/>
    <p:sldId id="285" r:id="rId24"/>
    <p:sldId id="286" r:id="rId25"/>
    <p:sldId id="268" r:id="rId26"/>
    <p:sldId id="270" r:id="rId27"/>
    <p:sldId id="271" r:id="rId28"/>
    <p:sldId id="272" r:id="rId29"/>
    <p:sldId id="273" r:id="rId30"/>
    <p:sldId id="267" r:id="rId31"/>
    <p:sldId id="258" r:id="rId32"/>
    <p:sldId id="291" r:id="rId33"/>
    <p:sldId id="292" r:id="rId34"/>
    <p:sldId id="293" r:id="rId35"/>
    <p:sldId id="294" r:id="rId36"/>
    <p:sldId id="295" r:id="rId37"/>
    <p:sldId id="300" r:id="rId38"/>
    <p:sldId id="301" r:id="rId39"/>
    <p:sldId id="302" r:id="rId40"/>
    <p:sldId id="303" r:id="rId41"/>
    <p:sldId id="304" r:id="rId42"/>
    <p:sldId id="305" r:id="rId43"/>
    <p:sldId id="263" r:id="rId44"/>
    <p:sldId id="265" r:id="rId45"/>
    <p:sldId id="266" r:id="rId46"/>
    <p:sldId id="264" r:id="rId4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1063A"/>
    <a:srgbClr val="AE172E"/>
    <a:srgbClr val="AE1738"/>
    <a:srgbClr val="82112B"/>
    <a:srgbClr val="7907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9" d="100"/>
          <a:sy n="69" d="100"/>
        </p:scale>
        <p:origin x="488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9E57BE-6F8E-41A8-AAB0-3D37B669DA70}" type="datetimeFigureOut">
              <a:rPr lang="sv-SE" smtClean="0"/>
              <a:t>2024-11-2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48704B-E6AF-4C66-88B6-B76772BB746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6843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803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509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144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48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9117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6986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681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4888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4825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54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5178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424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307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531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3115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3181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6972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949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36232988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367289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556549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59977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80681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1695729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3690447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4196818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11-26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303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1392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313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7229211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11332509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9871568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41055114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2428640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999847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684329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8146182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367181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r>
              <a:rPr lang="sv-SE" sz="1200" smtClean="0">
                <a:solidFill>
                  <a:prstClr val="black"/>
                </a:solidFill>
                <a:latin typeface="Arial"/>
              </a:rPr>
              <a:t>Processforum 241003</a:t>
            </a: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439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52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37891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063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13358160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4628108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4953180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135728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38729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5175332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9070163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130021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3" y="616842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1"/>
            <a:ext cx="9144000" cy="418623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752060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729290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9163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306564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867049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67448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997411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116036" y="1118585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116036" y="1842484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467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70625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1450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82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116036" y="1118585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116036" y="1842484"/>
            <a:ext cx="1477328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333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467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7984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sv-SE" dirty="0" smtClean="0"/>
              <a:t>Kunskapsråd</a:t>
            </a:r>
            <a:br>
              <a:rPr lang="sv-SE" dirty="0" smtClean="0"/>
            </a:br>
            <a:r>
              <a:rPr lang="sv-SE" dirty="0" smtClean="0"/>
              <a:t>Medicin- och akutvård</a:t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sz="4400" dirty="0" smtClean="0"/>
              <a:t>25 november 2024</a:t>
            </a:r>
            <a:endParaRPr lang="sv-SE" sz="4400" dirty="0"/>
          </a:p>
        </p:txBody>
      </p:sp>
    </p:spTree>
    <p:extLst>
      <p:ext uri="{BB962C8B-B14F-4D97-AF65-F5344CB8AC3E}">
        <p14:creationId xmlns:p14="http://schemas.microsoft.com/office/powerpoint/2010/main" val="3413283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4775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Lung- och allergisjukdomar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 inför KR 241125</a:t>
            </a:r>
            <a:r>
              <a:rPr lang="sv-SE" sz="1400" dirty="0">
                <a:solidFill>
                  <a:schemeClr val="bg1"/>
                </a:solidFill>
              </a:rPr>
              <a:t/>
            </a:r>
            <a:br>
              <a:rPr lang="sv-SE" sz="14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/>
            </a:r>
            <a:br>
              <a:rPr lang="sv-SE" sz="14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52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623392" y="1028732"/>
            <a:ext cx="10972800" cy="1189927"/>
          </a:xfrm>
        </p:spPr>
        <p:txBody>
          <a:bodyPr>
            <a:normAutofit fontScale="90000"/>
          </a:bodyPr>
          <a:lstStyle/>
          <a:p>
            <a:r>
              <a:rPr lang="sv-SE" sz="2200" dirty="0" smtClean="0"/>
              <a:t>Regiondag i </a:t>
            </a:r>
            <a:r>
              <a:rPr lang="sv-SE" sz="2200" dirty="0" err="1" smtClean="0"/>
              <a:t>lung</a:t>
            </a:r>
            <a:r>
              <a:rPr lang="sv-SE" sz="2200" dirty="0" smtClean="0"/>
              <a:t> allergi med fokus på</a:t>
            </a:r>
            <a:br>
              <a:rPr lang="sv-SE" sz="2200" dirty="0" smtClean="0"/>
            </a:br>
            <a:r>
              <a:rPr lang="sv-SE" sz="2700" b="1" dirty="0" smtClean="0"/>
              <a:t>Akut </a:t>
            </a:r>
            <a:r>
              <a:rPr lang="sv-SE" sz="2700" b="1" dirty="0"/>
              <a:t>och kronisk </a:t>
            </a:r>
            <a:r>
              <a:rPr lang="sv-SE" sz="2700" b="1" dirty="0" smtClean="0"/>
              <a:t>lungsjukdom</a:t>
            </a:r>
            <a:r>
              <a:rPr lang="sv-SE" sz="2700" dirty="0" smtClean="0"/>
              <a:t> </a:t>
            </a:r>
            <a:r>
              <a:rPr lang="sv-SE" sz="2700" b="1" dirty="0" smtClean="0"/>
              <a:t>med </a:t>
            </a:r>
            <a:r>
              <a:rPr lang="sv-SE" sz="2700" b="1" dirty="0"/>
              <a:t>kloka kliniska </a:t>
            </a:r>
            <a:r>
              <a:rPr lang="sv-SE" sz="2700" b="1" dirty="0" smtClean="0"/>
              <a:t>val</a:t>
            </a:r>
            <a:br>
              <a:rPr lang="sv-SE" sz="2700" b="1" dirty="0" smtClean="0"/>
            </a:br>
            <a:r>
              <a:rPr lang="sv-SE" sz="2700" b="1" dirty="0"/>
              <a:t/>
            </a:r>
            <a:br>
              <a:rPr lang="sv-SE" sz="2700" b="1" dirty="0"/>
            </a:br>
            <a:r>
              <a:rPr lang="sv-SE" sz="2000" b="1" dirty="0" smtClean="0"/>
              <a:t>7 nov 2024 Nässjö</a:t>
            </a:r>
            <a:br>
              <a:rPr lang="sv-SE" sz="2000" b="1" dirty="0" smtClean="0"/>
            </a:br>
            <a:r>
              <a:rPr lang="sv-SE" sz="2000" b="1" dirty="0" smtClean="0"/>
              <a:t>98 deltagare </a:t>
            </a:r>
            <a:r>
              <a:rPr lang="sv-SE" sz="4400" dirty="0"/>
              <a:t/>
            </a:r>
            <a:br>
              <a:rPr lang="sv-SE" sz="4400" dirty="0"/>
            </a:br>
            <a:r>
              <a:rPr lang="sv-SE" sz="5400" b="1" dirty="0" smtClean="0"/>
              <a:t> </a:t>
            </a:r>
            <a:r>
              <a:rPr lang="sv-SE" sz="5400" dirty="0"/>
              <a:t/>
            </a:r>
            <a:br>
              <a:rPr lang="sv-SE" sz="5400" dirty="0"/>
            </a:b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730102" y="1745246"/>
            <a:ext cx="10972800" cy="3744415"/>
          </a:xfrm>
        </p:spPr>
        <p:txBody>
          <a:bodyPr>
            <a:normAutofit fontScale="25000" lnSpcReduction="20000"/>
          </a:bodyPr>
          <a:lstStyle/>
          <a:p>
            <a:r>
              <a:rPr lang="sv-SE" sz="3200" b="1" dirty="0"/>
              <a:t> </a:t>
            </a:r>
            <a:endParaRPr lang="sv-SE" sz="3200" dirty="0"/>
          </a:p>
          <a:p>
            <a:r>
              <a:rPr lang="sv-SE" sz="3600" dirty="0"/>
              <a:t>09:00 	</a:t>
            </a:r>
            <a:r>
              <a:rPr lang="sv-SE" sz="3600" dirty="0" smtClean="0"/>
              <a:t>Kaffe</a:t>
            </a:r>
            <a:endParaRPr lang="sv-SE" sz="3600" dirty="0"/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09:30	</a:t>
            </a:r>
            <a:r>
              <a:rPr lang="sv-SE" sz="3600" b="1" dirty="0"/>
              <a:t>RPO lungmedicin</a:t>
            </a:r>
            <a:r>
              <a:rPr lang="sv-SE" sz="3600" dirty="0"/>
              <a:t>    Välkomna och presentation av dagen   </a:t>
            </a:r>
          </a:p>
          <a:p>
            <a:r>
              <a:rPr lang="sv-SE" sz="3600" dirty="0"/>
              <a:t> </a:t>
            </a:r>
            <a:r>
              <a:rPr lang="sv-SE" sz="3600" i="1" dirty="0"/>
              <a:t>			 </a:t>
            </a:r>
            <a:endParaRPr lang="sv-SE" sz="3600" dirty="0"/>
          </a:p>
          <a:p>
            <a:r>
              <a:rPr lang="sv-SE" sz="3600" dirty="0"/>
              <a:t>09:40	</a:t>
            </a:r>
            <a:r>
              <a:rPr lang="sv-SE" sz="3600" b="1" dirty="0" smtClean="0"/>
              <a:t>Kloka </a:t>
            </a:r>
            <a:r>
              <a:rPr lang="sv-SE" sz="3600" b="1" dirty="0"/>
              <a:t>kliniska val  </a:t>
            </a:r>
            <a:r>
              <a:rPr lang="sv-SE" sz="3600" dirty="0"/>
              <a:t>inom lungmedicin och radiologi  </a:t>
            </a:r>
            <a:r>
              <a:rPr lang="sv-SE" sz="3600" dirty="0" smtClean="0"/>
              <a:t>Henriette </a:t>
            </a:r>
            <a:r>
              <a:rPr lang="sv-SE" sz="3600" dirty="0" err="1"/>
              <a:t>Ståhlbrandt</a:t>
            </a:r>
            <a:r>
              <a:rPr lang="sv-SE" sz="3600" dirty="0"/>
              <a:t>,  överläkare,  </a:t>
            </a:r>
            <a:r>
              <a:rPr lang="sv-SE" sz="3600" b="1" dirty="0"/>
              <a:t>biträdande verksamhetschef på röntgenkliniken i Region Jönköpings län</a:t>
            </a:r>
            <a:endParaRPr lang="sv-SE" sz="3600" dirty="0"/>
          </a:p>
          <a:p>
            <a:r>
              <a:rPr lang="sv-SE" sz="3600" dirty="0"/>
              <a:t> </a:t>
            </a:r>
            <a:r>
              <a:rPr lang="sv-SE" sz="3600" dirty="0" smtClean="0"/>
              <a:t>10:30</a:t>
            </a:r>
            <a:r>
              <a:rPr lang="sv-SE" sz="3600" dirty="0"/>
              <a:t>	Bensträckare </a:t>
            </a:r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10:40	</a:t>
            </a:r>
            <a:r>
              <a:rPr lang="sv-SE" sz="3600" b="1" dirty="0"/>
              <a:t>Lungfibros </a:t>
            </a:r>
            <a:r>
              <a:rPr lang="sv-SE" sz="3600" dirty="0"/>
              <a:t>Presentation av Vårdförlopp lungfibros  </a:t>
            </a:r>
            <a:r>
              <a:rPr lang="sv-SE" sz="3600" dirty="0" smtClean="0"/>
              <a:t>Marietta </a:t>
            </a:r>
            <a:r>
              <a:rPr lang="sv-SE" sz="3600" dirty="0" err="1"/>
              <a:t>Kokkala</a:t>
            </a:r>
            <a:r>
              <a:rPr lang="sv-SE" sz="3600" dirty="0"/>
              <a:t>, överläkare US Linköping med fibrosteam</a:t>
            </a:r>
          </a:p>
          <a:p>
            <a:r>
              <a:rPr lang="sv-SE" sz="3600" dirty="0"/>
              <a:t>		    </a:t>
            </a:r>
          </a:p>
          <a:p>
            <a:r>
              <a:rPr lang="sv-SE" sz="3600" dirty="0"/>
              <a:t> 11:30	</a:t>
            </a:r>
            <a:r>
              <a:rPr lang="sv-SE" sz="3600" b="1" dirty="0" smtClean="0"/>
              <a:t>Astma </a:t>
            </a:r>
            <a:r>
              <a:rPr lang="sv-SE" sz="3600" b="1" dirty="0"/>
              <a:t>allergi</a:t>
            </a:r>
            <a:r>
              <a:rPr lang="sv-SE" sz="3600" dirty="0"/>
              <a:t>.  När är det läge för biologiska läkemedel? Fallpresentationer med mentometer.   </a:t>
            </a:r>
            <a:r>
              <a:rPr lang="sv-SE" sz="3600" dirty="0" smtClean="0"/>
              <a:t>Patrik </a:t>
            </a:r>
            <a:r>
              <a:rPr lang="sv-SE" sz="3600" dirty="0" err="1"/>
              <a:t>Nordenfelt</a:t>
            </a:r>
            <a:r>
              <a:rPr lang="sv-SE" sz="3600" dirty="0"/>
              <a:t> överläkare, Länssjukhuset Ryhov och Karolina Forssén överläkare, Länssjukhuset Kalmar </a:t>
            </a:r>
          </a:p>
          <a:p>
            <a:r>
              <a:rPr lang="sv-SE" sz="3600" dirty="0"/>
              <a:t>	</a:t>
            </a:r>
          </a:p>
          <a:p>
            <a:r>
              <a:rPr lang="sv-SE" sz="3600" dirty="0"/>
              <a:t>12:15	</a:t>
            </a:r>
            <a:r>
              <a:rPr lang="sv-SE" sz="3600" b="1" dirty="0" smtClean="0"/>
              <a:t>Lunch </a:t>
            </a:r>
            <a:endParaRPr lang="sv-SE" sz="3600" dirty="0"/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13:00	</a:t>
            </a:r>
            <a:r>
              <a:rPr lang="sv-SE" sz="3600" b="1" dirty="0" smtClean="0"/>
              <a:t>Syrgas</a:t>
            </a:r>
            <a:r>
              <a:rPr lang="sv-SE" sz="3600" dirty="0" smtClean="0"/>
              <a:t>  </a:t>
            </a:r>
            <a:r>
              <a:rPr lang="sv-SE" sz="3600" dirty="0"/>
              <a:t>Vad är optimal syrgasduration?  Presentation av REDOX studien. Ska vi ge syrgas under träning? Kort från AMBOX studien   </a:t>
            </a:r>
            <a:r>
              <a:rPr lang="sv-SE" sz="3600" dirty="0" smtClean="0"/>
              <a:t>LTOT </a:t>
            </a:r>
            <a:r>
              <a:rPr lang="sv-SE" sz="3600" dirty="0"/>
              <a:t>hos rökare -  vad står vi idag?  </a:t>
            </a:r>
          </a:p>
          <a:p>
            <a:r>
              <a:rPr lang="sv-SE" sz="3600" dirty="0"/>
              <a:t>		Josefin Sundh överläkare, docent  Lungkliniken Örebro </a:t>
            </a:r>
          </a:p>
          <a:p>
            <a:r>
              <a:rPr lang="sv-SE" sz="3600" dirty="0"/>
              <a:t>14:00</a:t>
            </a:r>
            <a:r>
              <a:rPr lang="sv-SE" sz="3600" b="1" dirty="0"/>
              <a:t>	Forskning lungmedicin – allergi</a:t>
            </a:r>
            <a:r>
              <a:rPr lang="sv-SE" sz="3600" dirty="0"/>
              <a:t> </a:t>
            </a:r>
            <a:r>
              <a:rPr lang="sv-SE" sz="3600" b="1" dirty="0"/>
              <a:t>sydöstra  </a:t>
            </a:r>
            <a:endParaRPr lang="sv-SE" sz="3600" dirty="0"/>
          </a:p>
          <a:p>
            <a:r>
              <a:rPr lang="sv-SE" sz="3600" dirty="0"/>
              <a:t>		Preoperativ rehabilitering.   Ann Engkvist fysioterapeut Länssjukhuset  Ryhov</a:t>
            </a:r>
          </a:p>
          <a:p>
            <a:r>
              <a:rPr lang="sv-SE" sz="3600" dirty="0"/>
              <a:t>		</a:t>
            </a:r>
            <a:r>
              <a:rPr lang="sv-SE" sz="3600" dirty="0" err="1"/>
              <a:t>Imagine</a:t>
            </a:r>
            <a:r>
              <a:rPr lang="sv-SE" sz="3600" dirty="0"/>
              <a:t> Care.  Petra Jakobsson sjuksköterska, doktorand US Linköping  </a:t>
            </a:r>
          </a:p>
          <a:p>
            <a:r>
              <a:rPr lang="sv-SE" sz="3600" dirty="0"/>
              <a:t>		KOL/ILD forskning.  Hur gör man en FOU plan? David  Olander ST läkare, doktorand US Linköping  </a:t>
            </a:r>
          </a:p>
          <a:p>
            <a:r>
              <a:rPr lang="sv-SE" sz="3600" dirty="0" smtClean="0"/>
              <a:t>		Presentation </a:t>
            </a:r>
            <a:r>
              <a:rPr lang="sv-SE" sz="3600" dirty="0"/>
              <a:t>av ST förbättringsprojekt.  Handledning av </a:t>
            </a:r>
            <a:r>
              <a:rPr lang="sv-SE" sz="3600" dirty="0" err="1"/>
              <a:t>St</a:t>
            </a:r>
            <a:r>
              <a:rPr lang="sv-SE" sz="3600" dirty="0"/>
              <a:t> läkare på lungmottagning Johanna </a:t>
            </a:r>
            <a:r>
              <a:rPr lang="sv-SE" sz="3600" dirty="0" err="1"/>
              <a:t>Lorin</a:t>
            </a:r>
            <a:r>
              <a:rPr lang="sv-SE" sz="3600" dirty="0"/>
              <a:t> ST läkare, Länssjukhuset Ryhov</a:t>
            </a:r>
            <a:r>
              <a:rPr lang="sv-SE" sz="3600" i="1" dirty="0"/>
              <a:t>	 </a:t>
            </a:r>
            <a:endParaRPr lang="sv-SE" sz="3600" dirty="0"/>
          </a:p>
          <a:p>
            <a:r>
              <a:rPr lang="sv-SE" sz="3600" dirty="0" smtClean="0"/>
              <a:t>	</a:t>
            </a:r>
            <a:r>
              <a:rPr lang="sv-SE" sz="3600" dirty="0"/>
              <a:t> </a:t>
            </a:r>
          </a:p>
          <a:p>
            <a:r>
              <a:rPr lang="sv-SE" sz="3600" dirty="0"/>
              <a:t>14:55	</a:t>
            </a:r>
            <a:r>
              <a:rPr lang="sv-SE" sz="3600" dirty="0" smtClean="0"/>
              <a:t>Presentation </a:t>
            </a:r>
            <a:r>
              <a:rPr lang="sv-SE" sz="3600" dirty="0"/>
              <a:t>av sista timmen på dagen… se nedan</a:t>
            </a:r>
          </a:p>
          <a:p>
            <a:r>
              <a:rPr lang="sv-SE" sz="3600" dirty="0"/>
              <a:t>   </a:t>
            </a:r>
          </a:p>
          <a:p>
            <a:r>
              <a:rPr lang="sv-SE" sz="3600" dirty="0"/>
              <a:t>15:00 	</a:t>
            </a:r>
            <a:r>
              <a:rPr lang="sv-SE" sz="3600" b="1" dirty="0"/>
              <a:t>Fika</a:t>
            </a:r>
            <a:r>
              <a:rPr lang="sv-SE" sz="3600" dirty="0"/>
              <a:t> </a:t>
            </a:r>
          </a:p>
          <a:p>
            <a:r>
              <a:rPr lang="sv-SE" sz="3600" dirty="0"/>
              <a:t>		</a:t>
            </a:r>
          </a:p>
          <a:p>
            <a:r>
              <a:rPr lang="sv-SE" sz="3600" dirty="0"/>
              <a:t>15:30	</a:t>
            </a:r>
            <a:r>
              <a:rPr lang="sv-SE" sz="3600" b="1" dirty="0"/>
              <a:t>Samarbetsfrågor/kort workshop med fokus på 5-6 intresseområden   </a:t>
            </a:r>
            <a:endParaRPr lang="sv-SE" sz="3600" dirty="0"/>
          </a:p>
          <a:p>
            <a:r>
              <a:rPr lang="sv-SE" sz="3600" dirty="0"/>
              <a:t>		</a:t>
            </a:r>
          </a:p>
          <a:p>
            <a:r>
              <a:rPr lang="sv-SE" sz="3600" dirty="0"/>
              <a:t>16.00</a:t>
            </a:r>
            <a:r>
              <a:rPr lang="sv-SE" sz="3600" b="1" dirty="0"/>
              <a:t>		Avslutning och hemresa</a:t>
            </a:r>
            <a:endParaRPr lang="sv-SE" sz="4000" dirty="0"/>
          </a:p>
          <a:p>
            <a:r>
              <a:rPr lang="sv-SE" sz="4000" b="1" dirty="0"/>
              <a:t> </a:t>
            </a:r>
            <a:endParaRPr lang="sv-SE" sz="4000" dirty="0"/>
          </a:p>
          <a:p>
            <a:r>
              <a:rPr lang="sv-SE" b="1" i="1" dirty="0"/>
              <a:t> </a:t>
            </a:r>
            <a:endParaRPr lang="sv-SE" dirty="0"/>
          </a:p>
          <a:p>
            <a:r>
              <a:rPr lang="sv-SE" b="1" dirty="0"/>
              <a:t> 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502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623392" y="330233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sz="4000" dirty="0" smtClean="0"/>
              <a:t>Lungprocessen i sydöstra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sz="2700" dirty="0" smtClean="0"/>
              <a:t>arbetssätt</a:t>
            </a:r>
            <a:r>
              <a:rPr lang="sv-SE" dirty="0" smtClean="0"/>
              <a:t/>
            </a:r>
            <a:br>
              <a:rPr lang="sv-SE" dirty="0" smtClean="0"/>
            </a:br>
            <a:endParaRPr lang="sv-SE" dirty="0"/>
          </a:p>
        </p:txBody>
      </p:sp>
      <p:pic>
        <p:nvPicPr>
          <p:cNvPr id="7" name="Platshållare för innehåll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77704" y="1700631"/>
            <a:ext cx="5384800" cy="3707243"/>
          </a:xfrm>
          <a:prstGeom prst="rect">
            <a:avLst/>
          </a:prstGeom>
        </p:spPr>
      </p:pic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6109792" y="1808123"/>
            <a:ext cx="7198581" cy="3599751"/>
          </a:xfrm>
        </p:spPr>
        <p:txBody>
          <a:bodyPr>
            <a:normAutofit/>
          </a:bodyPr>
          <a:lstStyle/>
          <a:p>
            <a:r>
              <a:rPr lang="sv-SE" sz="2400" dirty="0" smtClean="0"/>
              <a:t>Patient</a:t>
            </a:r>
          </a:p>
          <a:p>
            <a:endParaRPr lang="sv-SE" sz="2400" dirty="0" smtClean="0"/>
          </a:p>
          <a:p>
            <a:r>
              <a:rPr lang="sv-SE" sz="2400" dirty="0" smtClean="0"/>
              <a:t>Lungprocess/LPO</a:t>
            </a:r>
          </a:p>
          <a:p>
            <a:endParaRPr lang="sv-SE" sz="2400" dirty="0"/>
          </a:p>
          <a:p>
            <a:r>
              <a:rPr lang="sv-SE" sz="2400" dirty="0" smtClean="0"/>
              <a:t>RPO lungmedicin sydöstra</a:t>
            </a:r>
          </a:p>
          <a:p>
            <a:endParaRPr lang="sv-SE" sz="2400" dirty="0" smtClean="0"/>
          </a:p>
          <a:p>
            <a:r>
              <a:rPr lang="sv-SE" sz="2400" dirty="0" smtClean="0"/>
              <a:t>NPO/Svenska </a:t>
            </a:r>
            <a:r>
              <a:rPr lang="sv-SE" sz="2400" dirty="0"/>
              <a:t>Planeringsgruppen för </a:t>
            </a:r>
            <a:r>
              <a:rPr lang="sv-SE" sz="2400" dirty="0" smtClean="0"/>
              <a:t>Lungcancer/</a:t>
            </a:r>
            <a:r>
              <a:rPr lang="sv-SE" sz="2400" dirty="0" err="1" smtClean="0"/>
              <a:t>Swedevox</a:t>
            </a:r>
            <a:endParaRPr lang="sv-SE" sz="2400" dirty="0"/>
          </a:p>
          <a:p>
            <a:endParaRPr lang="sv-SE" dirty="0"/>
          </a:p>
        </p:txBody>
      </p:sp>
      <p:cxnSp>
        <p:nvCxnSpPr>
          <p:cNvPr id="3" name="Rak pilkoppling 2"/>
          <p:cNvCxnSpPr/>
          <p:nvPr/>
        </p:nvCxnSpPr>
        <p:spPr>
          <a:xfrm flipV="1">
            <a:off x="6641432" y="3962400"/>
            <a:ext cx="0" cy="51334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Rak pilkoppling 7"/>
          <p:cNvCxnSpPr/>
          <p:nvPr/>
        </p:nvCxnSpPr>
        <p:spPr>
          <a:xfrm flipV="1">
            <a:off x="6609347" y="3088105"/>
            <a:ext cx="0" cy="465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pilkoppling 10"/>
          <p:cNvCxnSpPr/>
          <p:nvPr/>
        </p:nvCxnSpPr>
        <p:spPr>
          <a:xfrm flipV="1">
            <a:off x="6609347" y="2237874"/>
            <a:ext cx="0" cy="4812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60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521792" y="345242"/>
            <a:ext cx="10972800" cy="1143000"/>
          </a:xfrm>
        </p:spPr>
        <p:txBody>
          <a:bodyPr>
            <a:normAutofit/>
          </a:bodyPr>
          <a:lstStyle/>
          <a:p>
            <a:r>
              <a:rPr lang="sv-SE" sz="4000" dirty="0"/>
              <a:t>T</a:t>
            </a:r>
            <a:r>
              <a:rPr lang="sv-SE" sz="4000" dirty="0" smtClean="0"/>
              <a:t>re insatsområden  </a:t>
            </a:r>
            <a:endParaRPr lang="sv-SE" sz="40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idx="1"/>
          </p:nvPr>
        </p:nvSpPr>
        <p:spPr>
          <a:xfrm>
            <a:off x="602285" y="1801386"/>
            <a:ext cx="10972800" cy="3744415"/>
          </a:xfrm>
        </p:spPr>
        <p:txBody>
          <a:bodyPr>
            <a:normAutofit/>
          </a:bodyPr>
          <a:lstStyle/>
          <a:p>
            <a:r>
              <a:rPr lang="sv-SE" sz="3200" dirty="0" smtClean="0"/>
              <a:t>Lungcancer </a:t>
            </a:r>
          </a:p>
          <a:p>
            <a:r>
              <a:rPr lang="sv-SE" sz="3200" dirty="0" smtClean="0"/>
              <a:t>ILD</a:t>
            </a:r>
          </a:p>
          <a:p>
            <a:r>
              <a:rPr lang="sv-SE" sz="3200" dirty="0" smtClean="0"/>
              <a:t>Astma allergi</a:t>
            </a:r>
          </a:p>
          <a:p>
            <a:r>
              <a:rPr lang="sv-SE" sz="3200" dirty="0" smtClean="0"/>
              <a:t> </a:t>
            </a:r>
          </a:p>
          <a:p>
            <a:endParaRPr lang="sv-SE" sz="3200" dirty="0"/>
          </a:p>
          <a:p>
            <a:r>
              <a:rPr lang="sv-SE" sz="3200" dirty="0" smtClean="0"/>
              <a:t>På vänt…. KOL</a:t>
            </a:r>
            <a:endParaRPr lang="sv-SE" sz="3200" dirty="0"/>
          </a:p>
        </p:txBody>
      </p:sp>
      <p:sp>
        <p:nvSpPr>
          <p:cNvPr id="2" name="Höger klammerparentes 1"/>
          <p:cNvSpPr/>
          <p:nvPr/>
        </p:nvSpPr>
        <p:spPr>
          <a:xfrm>
            <a:off x="3657600" y="1906859"/>
            <a:ext cx="758283" cy="153886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363636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4549698" y="2509024"/>
            <a:ext cx="1594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PO</a:t>
            </a: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srgbClr val="363636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873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12831" y="0"/>
          <a:ext cx="12185585" cy="82048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7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89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6675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95879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233050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418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</a:t>
                      </a:r>
                      <a:r>
                        <a:rPr lang="sv-SE" sz="1600" dirty="0" smtClean="0"/>
                        <a:t>insatsområde (NPO)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bg2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pföljning:</a:t>
                      </a:r>
                      <a:r>
                        <a:rPr kumimoji="0" lang="sv-S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ge metod, kvalitetsindikatorer, </a:t>
                      </a:r>
                      <a:r>
                        <a:rPr kumimoji="0" lang="sv-SE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ålvärden</a:t>
                      </a:r>
                      <a:r>
                        <a:rPr kumimoji="0" lang="sv-S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8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ungcanc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CC/nationella vårdprogramsgruppen</a:t>
                      </a:r>
                      <a:endParaRPr lang="sv-SE" sz="105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800" i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CC 6</a:t>
                      </a:r>
                      <a:r>
                        <a:rPr lang="sv-SE" sz="1000" b="1" i="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löft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b="0" i="0" baseline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0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-</a:t>
                      </a:r>
                      <a:r>
                        <a:rPr lang="sv-SE" sz="1000" b="1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Få </a:t>
                      </a:r>
                      <a:r>
                        <a:rPr lang="sv-SE" sz="1000" b="1" i="0" dirty="0">
                          <a:solidFill>
                            <a:schemeClr val="accent1"/>
                          </a:solidFill>
                          <a:latin typeface="+mn-lt"/>
                        </a:rPr>
                        <a:t>behandling inom tid som anges i standardiserade vårdförlopp</a:t>
                      </a:r>
                      <a:r>
                        <a:rPr lang="sv-SE" sz="1000" b="1" i="0" baseline="0" dirty="0">
                          <a:solidFill>
                            <a:schemeClr val="accent1"/>
                          </a:solidFill>
                          <a:latin typeface="+mn-lt"/>
                        </a:rPr>
                        <a:t> lungcancer</a:t>
                      </a:r>
                      <a:r>
                        <a:rPr lang="sv-SE" sz="1000" b="1" i="0" dirty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</a:t>
                      </a:r>
                      <a:r>
                        <a:rPr lang="sv-SE" sz="7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Alla cancerpatienter ska erbjudas diagnostik </a:t>
                      </a:r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och behandling enligt Best </a:t>
                      </a:r>
                      <a:r>
                        <a:rPr lang="sv-SE" sz="8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practice</a:t>
                      </a:r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cancerpatienter ska vara välinformerade och delaktiga genom hela vårdkedjan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cancerpatienter i livets slutskede ska få lika god palliativ vård oavsett bostadsort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ska erbjudas bästa möjliga hälsofrämjande insatser och välfungerande screeningprogram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RCC Sydöst ska prioritera patientnära forskning inom cancerområde</a:t>
                      </a:r>
                      <a:endParaRPr lang="sv-SE" sz="1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arbet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 tillgängligheten till </a:t>
                      </a:r>
                      <a:endParaRPr lang="sv-SE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T/CT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 PET/CT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paciteten är undermålig i vissa delar inom sydöstra regionen (Östergötland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h Kalmar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PET/CT</a:t>
                      </a:r>
                      <a:r>
                        <a:rPr lang="sv-SE" sz="1000" i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kommer att vara i bruk i Kalmar 2026.</a:t>
                      </a:r>
                      <a:r>
                        <a:rPr lang="sv-SE" sz="1000" i="0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  <a:endParaRPr lang="sv-SE" sz="1000" i="0" kern="1200" baseline="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arbeta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 att 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korta ledtiden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 molekylärpatologi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m i dag är för lång gentemot angiven tid i vårdförloppet. </a:t>
                      </a:r>
                      <a:endParaRPr lang="sv-SE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samm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äller tiden för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anlig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var från patologi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a utvecklingen av Kalmars arbete med NGS-analys för DNA/RNA (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arallellt istället för sekventiellt.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GS införs 2024. tidigt 2025Region Jönköp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rojekt Region Jönköping start mars 2024 med fokus förkortad ledtid på patologen. ”</a:t>
                      </a:r>
                      <a:r>
                        <a:rPr lang="sv-SE" sz="1000" b="1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id i handen”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Följa delledtider i specifikt projekt i JKPG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Följa delledtider i sydöstra inom patologi och mol patologi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ser även över arbetssätt och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 processer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 att ge stöd till förkortade tid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Öka EBUS tillgängligh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BUS Finns i Jönköping och Linköping. </a:t>
                      </a: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EBUS start v 38 2024 Kalma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err="1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EBUS uppstartad ht 2024 Ryhov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dirty="0" smtClean="0">
                          <a:latin typeface="+mn-lt"/>
                        </a:rPr>
                        <a:t>Metod:</a:t>
                      </a:r>
                      <a:r>
                        <a:rPr lang="sv-SE" sz="1000" b="1" i="0" baseline="0" dirty="0" smtClean="0">
                          <a:latin typeface="+mn-lt"/>
                        </a:rPr>
                        <a:t>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tt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för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edtider finns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att hämta i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CA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o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h SVF. Saknas delledtider till specifika </a:t>
                      </a:r>
                      <a:r>
                        <a:rPr lang="sv-SE" sz="1000" i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us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endParaRPr lang="sv-SE" sz="10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b="1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lvärde: </a:t>
                      </a:r>
                      <a:r>
                        <a:rPr lang="sv-SE" sz="1000" b="1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å rikssnitt för ledtider med bibehållen kvalitet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sv-SE" sz="1000" i="0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1" i="0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80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Alla cancerpatienter ska erbjudas diagnostik och behandling enligt Best </a:t>
                      </a:r>
                      <a:r>
                        <a:rPr lang="sv-SE" sz="1000" b="1" i="0" kern="120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practice</a:t>
                      </a:r>
                      <a:r>
                        <a:rPr lang="sv-SE" sz="1000" b="1" i="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.</a:t>
                      </a:r>
                    </a:p>
                    <a:p>
                      <a:endParaRPr lang="sv-SE" sz="6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endParaRPr lang="sv-SE" sz="6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5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Vara välinformerade och delaktiga genom hela vårdkedjan </a:t>
                      </a:r>
                      <a:endParaRPr lang="sv-SE" sz="1050" b="1" i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1" i="0" kern="120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je 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arbetar med att förbättra registrering av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ivna parametrar/kvalitetsindikatorer </a:t>
                      </a:r>
                      <a:r>
                        <a:rPr lang="sv-SE" sz="105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sv-SE" sz="105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jukvårdsregional </a:t>
                      </a:r>
                      <a:r>
                        <a:rPr lang="sv-SE" sz="105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passning av </a:t>
                      </a:r>
                      <a:r>
                        <a:rPr lang="sv-SE" sz="1050" i="0" kern="1200" dirty="0" err="1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i="0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05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laneras </a:t>
                      </a:r>
                      <a:r>
                        <a:rPr lang="sv-SE" sz="1050" i="0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2024. 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ytt vårdprogram </a:t>
                      </a:r>
                      <a:r>
                        <a:rPr lang="sv-SE" sz="105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t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ommaren 2024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050" i="0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äkemedelsfrågor , </a:t>
                      </a:r>
                      <a:r>
                        <a:rPr lang="sv-SE" sz="1050" i="0" strike="noStrike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pecfika</a:t>
                      </a:r>
                      <a:r>
                        <a:rPr lang="sv-SE" sz="1050" i="0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läkemedel samt </a:t>
                      </a:r>
                      <a:r>
                        <a:rPr lang="sv-SE" sz="105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viktbaserad dosering  genomförd </a:t>
                      </a:r>
                      <a:r>
                        <a:rPr lang="sv-SE" sz="1050" i="0" strike="noStrike" baseline="0" dirty="0" err="1" smtClean="0">
                          <a:solidFill>
                            <a:schemeClr val="bg2"/>
                          </a:solidFill>
                          <a:latin typeface="+mn-lt"/>
                        </a:rPr>
                        <a:t>vt</a:t>
                      </a:r>
                      <a:r>
                        <a:rPr lang="sv-SE" sz="105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2024 KKV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vända </a:t>
                      </a:r>
                      <a:r>
                        <a:rPr lang="sv-SE" sz="11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n vårdplan </a:t>
                      </a: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ncer vid varje möte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dirty="0" smtClean="0">
                          <a:latin typeface="+mn-lt"/>
                        </a:rPr>
                        <a:t>Metod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CA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data inkl. IPÖ.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sv-SE" sz="10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Vi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följer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b="1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kvalitetsindikatorer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9 </a:t>
                      </a:r>
                      <a:r>
                        <a:rPr lang="sv-SE" sz="1000" i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t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och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överlevnad kontinuerligt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rapporteringstakt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är sen vilket försvårar översikt i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altid. </a:t>
                      </a:r>
                    </a:p>
                    <a:p>
                      <a:r>
                        <a:rPr lang="sv-SE" sz="1000" b="1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lvärde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? 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val indikatorer  över rikssnitt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ättre överlevnad i sydöstra än rikssnittet 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strike="noStrike" kern="1200" baseline="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kommer under 2024 att följa upp i vilken omfattning Min vårdplan har använt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 arbetet tar RPO stöd av den SVF-data som finns tillgänglig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dirty="0" smtClean="0">
                          <a:latin typeface="+mn-lt"/>
                        </a:rPr>
                        <a:t> </a:t>
                      </a: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746604"/>
                  </a:ext>
                </a:extLst>
              </a:tr>
            </a:tbl>
          </a:graphicData>
        </a:graphic>
      </p:graphicFrame>
      <p:cxnSp>
        <p:nvCxnSpPr>
          <p:cNvPr id="3" name="Rak koppling 2"/>
          <p:cNvCxnSpPr/>
          <p:nvPr/>
        </p:nvCxnSpPr>
        <p:spPr>
          <a:xfrm>
            <a:off x="6416" y="6204818"/>
            <a:ext cx="12192000" cy="2126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616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1" y="0"/>
          <a:ext cx="12191999" cy="703774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6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1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5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059806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989221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35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 JKPG </a:t>
                      </a:r>
                      <a:r>
                        <a:rPr lang="sv-SE" sz="1600" b="1" kern="1200" dirty="0" err="1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sp</a:t>
                      </a: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LPO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899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</a:rPr>
                        <a:t>(sid 2)</a:t>
                      </a:r>
                    </a:p>
                    <a:p>
                      <a:endParaRPr lang="sv-SE" sz="1200" b="1" i="0" baseline="0" dirty="0">
                        <a:solidFill>
                          <a:srgbClr val="FF0000"/>
                        </a:solidFill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</a:t>
                      </a:r>
                      <a:r>
                        <a:rPr lang="sv-SE" sz="1100" b="1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gång till jämlik vård</a:t>
                      </a:r>
                      <a:endParaRPr lang="sv-SE" sz="1100" b="1" i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Ojämlik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 tillgång och i kvalitet till </a:t>
                      </a:r>
                      <a:r>
                        <a:rPr lang="sv-SE" sz="1000" b="1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palliativ vård 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har identifierats. Lokal variation beroende på bostadsort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vaddå ? för att arbeta med denna variatio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lken tillgänglig data finns som stöd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r andra RPO identifierat samma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sv-SE" sz="10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1" i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ppföljning</a:t>
                      </a:r>
                      <a:r>
                        <a:rPr lang="sv-SE" sz="1000" b="1" i="0" dirty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ange metod, kvalitetsindikatorer, </a:t>
                      </a:r>
                      <a:r>
                        <a:rPr lang="sv-SE" sz="10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etod?</a:t>
                      </a:r>
                    </a:p>
                    <a:p>
                      <a:endParaRPr lang="sv-SE" sz="1000" i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Hur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ska vi följa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tta???</a:t>
                      </a:r>
                    </a:p>
                    <a:p>
                      <a:endParaRPr lang="sv-SE" sz="1000" i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drag från IPÖ?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 smtClean="0">
                          <a:latin typeface="+mj-lt"/>
                        </a:rPr>
                        <a:t> </a:t>
                      </a:r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0179">
                <a:tc>
                  <a:txBody>
                    <a:bodyPr/>
                    <a:lstStyle/>
                    <a:p>
                      <a:pPr algn="l"/>
                      <a:endParaRPr lang="sv-SE" sz="6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kern="1200" dirty="0" smtClean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kern="1200" dirty="0" smtClean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baseline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RPO har implementerat </a:t>
                      </a:r>
                      <a:r>
                        <a:rPr lang="sv-SE" sz="1000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hecklista vid cancerrehabilitering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vilken används i hög grad. Kan RPO använda motsvarande som stöd för planering inför operation, så kallad prehabilitering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an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RPO använda checklista för cancerrehabilitering som stöd för planering inför operation, så kallad prehabilitering? Ska annat RPO involveras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?</a:t>
                      </a:r>
                    </a:p>
                    <a:p>
                      <a:r>
                        <a:rPr lang="sv-SE" sz="1000" dirty="0" err="1" smtClean="0">
                          <a:solidFill>
                            <a:srgbClr val="FF0000"/>
                          </a:solidFill>
                          <a:latin typeface="+mn-lt"/>
                        </a:rPr>
                        <a:t>Preop</a:t>
                      </a:r>
                      <a:r>
                        <a:rPr lang="sv-SE" sz="100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habilitering</a:t>
                      </a:r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</a:p>
                    <a:p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Projekt start  ht 2024  sydöstra</a:t>
                      </a:r>
                    </a:p>
                    <a:p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Cancermedel beviljade från RCC 300000 kr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a arbetet av </a:t>
                      </a:r>
                      <a:r>
                        <a:rPr lang="sv-SE" sz="1000" i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Lungcancerscreening pilotprojekt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m pågår nationellt. Följa arbetet som sjukvårdsregionalt som hanteras av RCC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baseline="0" dirty="0">
                          <a:latin typeface="+mn-lt"/>
                        </a:rPr>
                        <a:t>RAG lungcancer tillsammans med RCC påbörjar förberedande arbete kring screening </a:t>
                      </a:r>
                      <a:r>
                        <a:rPr lang="sv-SE" sz="1000" i="0" baseline="0" dirty="0" smtClean="0">
                          <a:latin typeface="+mn-lt"/>
                        </a:rPr>
                        <a:t>Möte </a:t>
                      </a:r>
                      <a:r>
                        <a:rPr lang="sv-SE" sz="1000" i="0" baseline="0" dirty="0">
                          <a:latin typeface="+mn-lt"/>
                        </a:rPr>
                        <a:t>planerat vintern 2023/2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Även följa resultatet av studierna som pågår i Stockholm, Västra Götaland och Norrbotten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Deltagande i screening projekt 2025 inom RCC  sydöstr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A  </a:t>
                      </a:r>
                      <a:r>
                        <a:rPr lang="sv-SE" sz="1000" i="0" baseline="0" dirty="0">
                          <a:latin typeface="+mj-lt"/>
                        </a:rPr>
                        <a:t>Vilken data ska användas? </a:t>
                      </a: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B  klartecken att arbeta med </a:t>
                      </a:r>
                      <a:r>
                        <a:rPr lang="sv-SE" sz="1000" i="0" baseline="0" dirty="0" err="1" smtClean="0">
                          <a:latin typeface="+mj-lt"/>
                        </a:rPr>
                        <a:t>impl</a:t>
                      </a:r>
                      <a:r>
                        <a:rPr lang="sv-SE" sz="1000" i="0" baseline="0" dirty="0" smtClean="0">
                          <a:latin typeface="+mj-lt"/>
                        </a:rPr>
                        <a:t> studie ?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Flera screeningmöten genomförda under senvåren 2024</a:t>
                      </a:r>
                      <a:endParaRPr lang="sv-SE" sz="1000" i="0" baseline="0" dirty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ostnadseffektivitet ?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05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21720"/>
                  </a:ext>
                </a:extLst>
              </a:tr>
              <a:tr h="1142276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b="1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Regionalt cancercentrum sydöst ska prioritera patientnära forskning inom cancerområd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har identifierat att flera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äkemedelsstudier bedrivs, men att fler patienter utanför Linköping bör erbjudas deltagande 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d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t </a:t>
                      </a:r>
                      <a:r>
                        <a:rPr lang="sv-SE" sz="1000" i="0" baseline="0" dirty="0">
                          <a:latin typeface="+mn-lt"/>
                        </a:rPr>
                        <a:t>regionalt lungcancermöte med RCC framhölls att studier inom </a:t>
                      </a:r>
                      <a:r>
                        <a:rPr lang="sv-SE" sz="1000" i="0" strike="noStrike" baseline="0" dirty="0">
                          <a:solidFill>
                            <a:schemeClr val="bg2"/>
                          </a:solidFill>
                          <a:latin typeface="+mn-lt"/>
                        </a:rPr>
                        <a:t>lungcancer för såväl akademiska studier  som vid läkemedelsforskning </a:t>
                      </a:r>
                      <a:endParaRPr lang="sv-SE" sz="1000" i="0" strike="noStrike" baseline="0" dirty="0" smtClean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Linköping och </a:t>
                      </a:r>
                      <a:r>
                        <a:rPr lang="sv-SE" sz="1000" i="0" strike="noStrike" baseline="0" dirty="0" err="1" smtClean="0">
                          <a:solidFill>
                            <a:schemeClr val="bg2"/>
                          </a:solidFill>
                          <a:latin typeface="+mn-lt"/>
                        </a:rPr>
                        <a:t>jönköping</a:t>
                      </a: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deltar i flera studier </a:t>
                      </a:r>
                      <a:endParaRPr lang="sv-SE" sz="1000" i="0" strike="noStrike" baseline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Hur </a:t>
                      </a:r>
                      <a:r>
                        <a:rPr lang="sv-SE" sz="1000" i="0" baseline="0" dirty="0">
                          <a:latin typeface="+mj-lt"/>
                        </a:rPr>
                        <a:t>ska vi följa detta</a:t>
                      </a:r>
                      <a:r>
                        <a:rPr lang="sv-SE" sz="1000" i="0" baseline="0" dirty="0" smtClean="0">
                          <a:latin typeface="+mj-lt"/>
                        </a:rPr>
                        <a:t>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50" dirty="0" smtClean="0">
                          <a:latin typeface="+mn-lt"/>
                        </a:rPr>
                        <a:t> </a:t>
                      </a:r>
                      <a:endParaRPr lang="sv-SE" sz="105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273928"/>
                  </a:ext>
                </a:extLst>
              </a:tr>
            </a:tbl>
          </a:graphicData>
        </a:graphic>
      </p:graphicFrame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24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-8541" y="58723"/>
          <a:ext cx="12200541" cy="709227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165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8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79902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764875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30149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481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9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 smtClean="0">
                          <a:latin typeface="+mj-lt"/>
                        </a:rPr>
                        <a:t> </a:t>
                      </a:r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132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ungfibro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</a:t>
                      </a: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 som är lätt tillgänglig för kontakt, bedömning och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besök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diagnostik och behandling och uppföljning enligt bästa kunskap i varje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mö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kedja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screeningprogra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1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</a:t>
                      </a:r>
                      <a:r>
                        <a:rPr lang="sv-SE" sz="1050" b="1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  <a:endParaRPr lang="sv-SE" sz="1050" b="1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ytt vårdförlopp </a:t>
                      </a:r>
                      <a:r>
                        <a:rPr lang="sv-SE" sz="120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lungfibros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strike="sngStrike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endParaRPr lang="sv-SE" sz="1200" strike="sngStrike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fibros </a:t>
                      </a: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rbete  </a:t>
                      </a: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YTT vårdförlopp ht 2024 </a:t>
                      </a:r>
                      <a:endParaRPr lang="sv-SE" sz="1200" i="0" kern="1200" baseline="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årdförloppet ingår utredning, diagnos, behandling och uppfölj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vvaktan på NAG lungfibros resultat upprätta </a:t>
                      </a: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rukturerade mottagning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LD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ottagning inom alla län i regionen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t 2024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tagningsmall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ch gemensam  mall för checklisto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jukvårdsegional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LD rond ht 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-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föra KBILD för </a:t>
                      </a:r>
                      <a:r>
                        <a:rPr lang="sv-SE" sz="1200" i="0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onitoreing</a:t>
                      </a: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sterdeltagande 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äkemedelsval  samord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re </a:t>
                      </a:r>
                      <a:r>
                        <a:rPr lang="sv-SE" sz="1200" i="0" kern="1200" baseline="0" dirty="0" err="1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infromationtillfällen</a:t>
                      </a: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 under ht 2024  Zoom 21 okt regional möte 7 nov  LMO 28 nov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lungfibros blir klart under 2024. </a:t>
                      </a: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ska vi implementera detta?</a:t>
                      </a:r>
                    </a:p>
                    <a:p>
                      <a:endParaRPr lang="sv-SE" sz="1200" b="0" i="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DK regional starta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21 okt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  Utvärdering maj 2024 utförd.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mäter vi? 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sterdeltagande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regionen?  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ma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llar för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provtagnings pågår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 Igång?</a:t>
                      </a:r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följer vi 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 ILD   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Öka registerdeltagande </a:t>
                      </a:r>
                      <a:endParaRPr lang="sv-SE" sz="1200" b="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en-IE" sz="120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8389" y="133498"/>
          <a:ext cx="12183610" cy="657531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3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4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207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31968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220097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4223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 Jönköping 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63340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llergi</a:t>
                      </a:r>
                    </a:p>
                    <a:p>
                      <a:pPr algn="l"/>
                      <a:r>
                        <a:rPr lang="sv-SE" sz="9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om patient i Sydöstra sjukvårdsregionen ska du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0" dirty="0">
                        <a:solidFill>
                          <a:srgbClr val="393939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Svår astma (best </a:t>
                      </a:r>
                      <a:r>
                        <a:rPr lang="sv-SE" sz="12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ractice</a:t>
                      </a: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Tillgänglighet till </a:t>
                      </a: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LIT</a:t>
                      </a:r>
                      <a:r>
                        <a:rPr lang="sv-SE" sz="8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8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PO </a:t>
                      </a: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Matallergi 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8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Läkemedelsallergi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Saknar </a:t>
                      </a:r>
                      <a:r>
                        <a:rPr lang="sv-SE" sz="8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ndardiserade 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remissrutiner för att kunna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triagera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 och bedöma behov. Nuläget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åvekar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 tillgängligheten till allergolog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 fram och implementera riktlinjer för biologisk läkemedelsbehandling vid svår astma.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omplettera befintligt dokument som får annat namn (biologiska läkemedel vid svår astma)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fterforska möjlighet till SLIT inom primärvården. Avvakta?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PO matallergi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vvaktas </a:t>
                      </a:r>
                      <a:r>
                        <a:rPr lang="sv-SE" sz="12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ga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vårt att införa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ll och information till primärvården </a:t>
                      </a:r>
                      <a:r>
                        <a:rPr lang="sv-SE" sz="12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g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m allergi(Kalmar)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mt avvakta framtagande riktlinjer Linköping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kument framtaget.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mplementerin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ågår. </a:t>
                      </a:r>
                      <a:r>
                        <a:rPr lang="sv-SE" sz="1200" b="0" i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derat maj 2024</a:t>
                      </a: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förande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v luftvägsregister på alla sjukhus där behandling sker med biologiska läkemedel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ågår. Återkoppling via RAG allergi till RPO lungmedicin-allergi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vvakta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nadseffektiv vård 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ölja </a:t>
                      </a:r>
                      <a:r>
                        <a:rPr lang="sv-SE" sz="12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m</a:t>
                      </a: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ör biologiska läkemedel. </a:t>
                      </a:r>
                      <a:endParaRPr lang="sv-SE" sz="1200" b="0" i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emensam rutin för insättning monitorering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iologiska läkemedel vid astma implementerats och fungerande 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v register????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454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308284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Kloka kliniska val lungmedicin</a:t>
            </a:r>
            <a:br>
              <a:rPr lang="sv-SE" dirty="0" smtClean="0"/>
            </a:br>
            <a:r>
              <a:rPr lang="sv-SE" sz="2700" dirty="0" smtClean="0"/>
              <a:t>saker på gång  </a:t>
            </a:r>
            <a:endParaRPr lang="sv-SE" sz="27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4000" dirty="0" smtClean="0"/>
              <a:t> </a:t>
            </a:r>
            <a:r>
              <a:rPr lang="sv-SE" sz="4000" dirty="0"/>
              <a:t>	</a:t>
            </a:r>
            <a:endParaRPr lang="sv-SE" dirty="0"/>
          </a:p>
        </p:txBody>
      </p:sp>
      <p:sp>
        <p:nvSpPr>
          <p:cNvPr id="4" name="Flödesschema: Eller 3"/>
          <p:cNvSpPr/>
          <p:nvPr/>
        </p:nvSpPr>
        <p:spPr>
          <a:xfrm>
            <a:off x="1159727" y="1553650"/>
            <a:ext cx="8106937" cy="5025569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2711605" y="2198616"/>
            <a:ext cx="185110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Kloka kliniska val (KKV) radiologi samverkan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med lungmedicin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5694555" y="2198616"/>
            <a:ext cx="19291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Inom medicinklinikerna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5631365" y="3973745"/>
            <a:ext cx="22190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63636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		-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rbetsgrupp KKV RPO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lungmedicin- allergi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2531326" y="3968489"/>
            <a:ext cx="221165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63636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63636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		-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Utbildningsdag nov 2024 med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fokus kloka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kliniska val lung-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allergi 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20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335714"/>
            <a:ext cx="10972800" cy="1143000"/>
          </a:xfrm>
        </p:spPr>
        <p:txBody>
          <a:bodyPr/>
          <a:lstStyle/>
          <a:p>
            <a:r>
              <a:rPr lang="sv-SE" dirty="0" err="1" smtClean="0"/>
              <a:t>Take</a:t>
            </a:r>
            <a:r>
              <a:rPr lang="sv-SE" dirty="0" smtClean="0"/>
              <a:t> </a:t>
            </a:r>
            <a:r>
              <a:rPr lang="sv-SE" dirty="0" err="1" smtClean="0"/>
              <a:t>home</a:t>
            </a:r>
            <a:r>
              <a:rPr lang="sv-SE" dirty="0" smtClean="0"/>
              <a:t> </a:t>
            </a:r>
            <a:r>
              <a:rPr lang="sv-SE" dirty="0" err="1" smtClean="0"/>
              <a:t>messag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98088" y="1574347"/>
            <a:ext cx="10972800" cy="5082931"/>
          </a:xfrm>
        </p:spPr>
        <p:txBody>
          <a:bodyPr>
            <a:normAutofit fontScale="85000" lnSpcReduction="10000"/>
          </a:bodyPr>
          <a:lstStyle/>
          <a:p>
            <a:r>
              <a:rPr lang="sv-SE" sz="1050" dirty="0" smtClean="0"/>
              <a:t>Lungcancer   		Utmaningar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-ledtider ej bra men kanske viss förbättring 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-analyser visar långa ledtider gällande molekylärpatologi och när vi behöver remitterar för avancerad EBUS(</a:t>
            </a:r>
            <a:r>
              <a:rPr lang="sv-SE" sz="1050" dirty="0" err="1" smtClean="0"/>
              <a:t>staging</a:t>
            </a:r>
            <a:r>
              <a:rPr lang="sv-SE" sz="1050" dirty="0" smtClean="0"/>
              <a:t> undersökning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-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NGS molekylärpatologi förhoppningsvis igång lokalt på Ryhov under 2024  Tiden i hand projekt pågår Ryhov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Vi blir allt bättre på avancerad EBUS  Ökad tillgänglighet förutses </a:t>
            </a:r>
            <a:r>
              <a:rPr lang="sv-SE" sz="1050" dirty="0" err="1" smtClean="0"/>
              <a:t>pga</a:t>
            </a:r>
            <a:r>
              <a:rPr lang="sv-SE" sz="1050" dirty="0" smtClean="0"/>
              <a:t> EBUS nu i Kalmar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Kvalitet god med bra överlevnadsdata</a:t>
            </a:r>
          </a:p>
          <a:p>
            <a:endParaRPr lang="sv-SE" sz="1050" dirty="0" smtClean="0"/>
          </a:p>
          <a:p>
            <a:endParaRPr lang="sv-SE" sz="1050" dirty="0"/>
          </a:p>
          <a:p>
            <a:endParaRPr lang="sv-SE" sz="1050" dirty="0" smtClean="0"/>
          </a:p>
          <a:p>
            <a:endParaRPr lang="sv-SE" sz="1050" dirty="0"/>
          </a:p>
          <a:p>
            <a:r>
              <a:rPr lang="sv-SE" sz="1050" dirty="0" smtClean="0"/>
              <a:t>Lungfibros		</a:t>
            </a:r>
            <a:r>
              <a:rPr lang="sv-SE" sz="1050" dirty="0"/>
              <a:t>Utmaningar </a:t>
            </a:r>
          </a:p>
          <a:p>
            <a:r>
              <a:rPr lang="sv-SE" sz="1050" dirty="0" smtClean="0"/>
              <a:t>			mer avancerad kombinationer av läkemedel, få en mer Sammanhållen vård av patientgruppen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hur följer vid kvalitet?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Strukturerad </a:t>
            </a:r>
            <a:r>
              <a:rPr lang="sv-SE" sz="1050" dirty="0"/>
              <a:t>ILD mottagning på tre sjukhus (</a:t>
            </a:r>
            <a:r>
              <a:rPr lang="sv-SE" sz="1050" b="1" dirty="0"/>
              <a:t>Linköping</a:t>
            </a:r>
            <a:r>
              <a:rPr lang="sv-SE" sz="1050" dirty="0"/>
              <a:t>, Jönköping, Kalmar) </a:t>
            </a:r>
            <a:r>
              <a:rPr lang="sv-SE" sz="1050" dirty="0" smtClean="0"/>
              <a:t>Gemensamma </a:t>
            </a:r>
            <a:r>
              <a:rPr lang="sv-SE" sz="1050" dirty="0"/>
              <a:t>rutiner, provtagningsmallar, checklistor för läkemedel </a:t>
            </a:r>
            <a:r>
              <a:rPr lang="sv-SE" sz="1050" dirty="0" smtClean="0"/>
              <a:t>framtagna </a:t>
            </a:r>
            <a:endParaRPr lang="sv-SE" sz="1050" dirty="0"/>
          </a:p>
          <a:p>
            <a:pPr defTabSz="91440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 smtClean="0"/>
          </a:p>
          <a:p>
            <a:pPr>
              <a:lnSpc>
                <a:spcPct val="120000"/>
              </a:lnSpc>
            </a:pPr>
            <a:r>
              <a:rPr lang="sv-SE" sz="1050" dirty="0" smtClean="0"/>
              <a:t>		Registerdeltagande </a:t>
            </a:r>
            <a:r>
              <a:rPr lang="sv-SE" sz="1050" dirty="0"/>
              <a:t>i regionen?  </a:t>
            </a:r>
          </a:p>
          <a:p>
            <a:pPr>
              <a:lnSpc>
                <a:spcPct val="120000"/>
              </a:lnSpc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lang="sv-SE" sz="1050" dirty="0" smtClean="0"/>
              <a:t>		Gemensam </a:t>
            </a:r>
            <a:r>
              <a:rPr lang="sv-SE" sz="1050" dirty="0"/>
              <a:t>reuma/</a:t>
            </a:r>
            <a:r>
              <a:rPr lang="sv-SE" sz="1050" dirty="0" err="1"/>
              <a:t>lung</a:t>
            </a:r>
            <a:r>
              <a:rPr lang="sv-SE" sz="1050" dirty="0"/>
              <a:t> rond </a:t>
            </a:r>
            <a:r>
              <a:rPr lang="sv-SE" sz="1050" dirty="0" smtClean="0"/>
              <a:t>JKPG nyhet 2023 </a:t>
            </a: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lang="sv-SE" sz="1050" dirty="0" smtClean="0"/>
              <a:t>		Regional </a:t>
            </a:r>
            <a:r>
              <a:rPr lang="sv-SE" sz="1050" dirty="0"/>
              <a:t>rond sydöstra var 5 </a:t>
            </a:r>
            <a:r>
              <a:rPr lang="sv-SE" sz="1050" dirty="0" smtClean="0"/>
              <a:t>vecka nyhet 2023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 smtClean="0"/>
          </a:p>
          <a:p>
            <a:endParaRPr lang="sv-SE" sz="1050" dirty="0"/>
          </a:p>
          <a:p>
            <a:r>
              <a:rPr lang="sv-SE" sz="1050" dirty="0" smtClean="0"/>
              <a:t>Allergi 		</a:t>
            </a:r>
            <a:r>
              <a:rPr lang="sv-SE" sz="1050" dirty="0"/>
              <a:t>Utmaningar </a:t>
            </a:r>
          </a:p>
          <a:p>
            <a:r>
              <a:rPr lang="sv-SE" sz="1050" dirty="0" smtClean="0"/>
              <a:t>			Väntetider /tillgänglighet </a:t>
            </a:r>
            <a:endParaRPr lang="sv-SE" sz="1050" dirty="0"/>
          </a:p>
          <a:p>
            <a:r>
              <a:rPr lang="sv-SE" sz="1050" dirty="0" smtClean="0"/>
              <a:t>		</a:t>
            </a:r>
            <a:r>
              <a:rPr lang="sv-SE" sz="1050" dirty="0"/>
              <a:t>	Läkemedelsallergi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Hur </a:t>
            </a:r>
            <a:r>
              <a:rPr lang="sv-SE" sz="1050" dirty="0"/>
              <a:t>mäter vi kvalitet vid användning av biologiska lm? Lv register????</a:t>
            </a:r>
          </a:p>
          <a:p>
            <a:r>
              <a:rPr lang="sv-SE" sz="105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48290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Dagordning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463494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sv-SE" sz="3300" dirty="0"/>
              <a:t>1. Inledning och uppföljning föregående mötesanteckningar (Agneta Ståhl)</a:t>
            </a:r>
          </a:p>
          <a:p>
            <a:pPr lvl="0"/>
            <a:r>
              <a:rPr lang="sv-SE" sz="3300" dirty="0" smtClean="0"/>
              <a:t>2</a:t>
            </a:r>
            <a:r>
              <a:rPr lang="sv-SE" sz="3300" dirty="0"/>
              <a:t>. SÖSR-information från RSL (Jan-Erik Karlsson)</a:t>
            </a:r>
          </a:p>
          <a:p>
            <a:pPr lvl="0"/>
            <a:r>
              <a:rPr lang="sv-SE" sz="3300" dirty="0"/>
              <a:t>3. Reviderad uppdragsbeskrivning RPO (Agneta Ståhl)</a:t>
            </a:r>
          </a:p>
          <a:p>
            <a:pPr lvl="0"/>
            <a:r>
              <a:rPr lang="sv-SE" sz="3300" dirty="0"/>
              <a:t>4. Handlingsplan – aktuell information från respektive RPO. </a:t>
            </a:r>
            <a:r>
              <a:rPr lang="sv-SE" sz="3300" dirty="0" smtClean="0"/>
              <a:t>(</a:t>
            </a:r>
            <a:r>
              <a:rPr lang="sv-SE" sz="3300" dirty="0"/>
              <a:t>RPO-</a:t>
            </a:r>
            <a:r>
              <a:rPr lang="sv-SE" sz="3300" dirty="0" err="1"/>
              <a:t>ordf</a:t>
            </a:r>
            <a:r>
              <a:rPr lang="sv-SE" sz="3300" dirty="0"/>
              <a:t> alt ersättare)</a:t>
            </a:r>
          </a:p>
          <a:p>
            <a:pPr lvl="0"/>
            <a:r>
              <a:rPr lang="sv-SE" sz="3300" dirty="0"/>
              <a:t>5. Uppföljning från gemensamt kunskapsråd 13/9 (Alla)</a:t>
            </a:r>
          </a:p>
          <a:p>
            <a:r>
              <a:rPr lang="sv-SE" sz="3300" dirty="0" smtClean="0"/>
              <a:t>6</a:t>
            </a:r>
            <a:r>
              <a:rPr lang="sv-SE" sz="3300" dirty="0"/>
              <a:t>. Forskning (Joakim Alfredsson)</a:t>
            </a:r>
          </a:p>
          <a:p>
            <a:pPr lvl="0"/>
            <a:r>
              <a:rPr lang="sv-SE" sz="3300" dirty="0"/>
              <a:t>7. Mötestider för 2025</a:t>
            </a:r>
          </a:p>
          <a:p>
            <a:r>
              <a:rPr lang="sv-SE" sz="3300" dirty="0" smtClean="0"/>
              <a:t>8</a:t>
            </a:r>
            <a:r>
              <a:rPr lang="sv-SE" sz="3300" dirty="0"/>
              <a:t>. Övriga frågor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5588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22341"/>
            <a:ext cx="10972800" cy="1143000"/>
          </a:xfrm>
        </p:spPr>
        <p:txBody>
          <a:bodyPr/>
          <a:lstStyle/>
          <a:p>
            <a:r>
              <a:rPr lang="sv-SE" dirty="0" smtClean="0"/>
              <a:t>ILD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832970"/>
            <a:ext cx="11768255" cy="3744415"/>
          </a:xfrm>
        </p:spPr>
        <p:txBody>
          <a:bodyPr>
            <a:normAutofit fontScale="55000" lnSpcReduction="20000"/>
          </a:bodyPr>
          <a:lstStyle/>
          <a:p>
            <a:r>
              <a:rPr lang="sv-SE" sz="4000" dirty="0" smtClean="0"/>
              <a:t>Strukturerad </a:t>
            </a:r>
            <a:r>
              <a:rPr lang="sv-SE" sz="4000" dirty="0"/>
              <a:t>ILD </a:t>
            </a:r>
            <a:r>
              <a:rPr lang="sv-SE" sz="4000" dirty="0" smtClean="0"/>
              <a:t>mottagning på tre sjukhus (Linköping, Jönköping, Kalmar) </a:t>
            </a:r>
            <a:endParaRPr lang="sv-SE" sz="4000" dirty="0"/>
          </a:p>
          <a:p>
            <a:endParaRPr lang="sv-SE" sz="4000" dirty="0"/>
          </a:p>
          <a:p>
            <a:pPr defTabSz="914400">
              <a:spcBef>
                <a:spcPts val="0"/>
              </a:spcBef>
              <a:defRPr/>
            </a:pPr>
            <a:r>
              <a:rPr lang="sv-SE" sz="4000" dirty="0" smtClean="0"/>
              <a:t>Gemensamma rutiner, provtagningsmallar, checklistor för läkemedel  </a:t>
            </a:r>
            <a:endParaRPr lang="sv-SE" sz="4000" dirty="0"/>
          </a:p>
          <a:p>
            <a:pPr defTabSz="914400">
              <a:spcBef>
                <a:spcPts val="0"/>
              </a:spcBef>
              <a:defRPr/>
            </a:pPr>
            <a:endParaRPr lang="sv-SE" sz="4000" dirty="0"/>
          </a:p>
          <a:p>
            <a:r>
              <a:rPr lang="sv-SE" sz="4000" dirty="0"/>
              <a:t>Registerdeltagande i </a:t>
            </a:r>
            <a:r>
              <a:rPr lang="sv-SE" sz="4000" dirty="0" smtClean="0"/>
              <a:t>regionen?  </a:t>
            </a:r>
            <a:endParaRPr lang="sv-SE" sz="4000" dirty="0"/>
          </a:p>
          <a:p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/>
              <a:t>Gemensam reuma/</a:t>
            </a:r>
            <a:r>
              <a:rPr lang="sv-SE" sz="4000" dirty="0" err="1"/>
              <a:t>lung</a:t>
            </a:r>
            <a:r>
              <a:rPr lang="sv-SE" sz="4000" dirty="0"/>
              <a:t> rond </a:t>
            </a:r>
            <a:r>
              <a:rPr lang="sv-SE" sz="4000" dirty="0" smtClean="0"/>
              <a:t>JKPG</a:t>
            </a:r>
          </a:p>
          <a:p>
            <a:pPr lvl="0">
              <a:spcBef>
                <a:spcPts val="0"/>
              </a:spcBef>
              <a:defRPr/>
            </a:pPr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 smtClean="0"/>
              <a:t>Regional rond sydöstra var 5 vecka  - aktivt deltagande</a:t>
            </a:r>
          </a:p>
          <a:p>
            <a:pPr lvl="0">
              <a:spcBef>
                <a:spcPts val="0"/>
              </a:spcBef>
              <a:defRPr/>
            </a:pPr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 smtClean="0"/>
              <a:t> Sprida </a:t>
            </a:r>
            <a:r>
              <a:rPr lang="sv-SE" sz="4000" dirty="0"/>
              <a:t>info om </a:t>
            </a:r>
            <a:r>
              <a:rPr lang="sv-SE" sz="4000" dirty="0" smtClean="0"/>
              <a:t>vårdförlopp lungfibros  </a:t>
            </a:r>
            <a:r>
              <a:rPr lang="sv-SE" sz="4000" dirty="0"/>
              <a:t>vid tre möten under hit 2024 </a:t>
            </a:r>
            <a:r>
              <a:rPr lang="sv-SE" sz="4000" dirty="0" smtClean="0"/>
              <a:t>(</a:t>
            </a:r>
            <a:r>
              <a:rPr lang="sv-SE" sz="2900" dirty="0" smtClean="0"/>
              <a:t>digitalt möte 21 okt , regionmöte 7 nov , LMO 29 nov) </a:t>
            </a:r>
            <a:endParaRPr lang="sv-SE" sz="2900" dirty="0"/>
          </a:p>
          <a:p>
            <a:pPr fontAlgn="t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6573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545616"/>
            <a:ext cx="10972800" cy="1143000"/>
          </a:xfrm>
        </p:spPr>
        <p:txBody>
          <a:bodyPr/>
          <a:lstStyle/>
          <a:p>
            <a:r>
              <a:rPr lang="sv-SE" dirty="0" smtClean="0"/>
              <a:t>Allergi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2276874"/>
            <a:ext cx="8222166" cy="3744415"/>
          </a:xfrm>
        </p:spPr>
        <p:txBody>
          <a:bodyPr>
            <a:normAutofit/>
          </a:bodyPr>
          <a:lstStyle/>
          <a:p>
            <a:r>
              <a:rPr lang="sv-SE" sz="1800" dirty="0"/>
              <a:t>Gemensam rutin för insättning monitorering  av biologiska läkemedel vid </a:t>
            </a:r>
            <a:endParaRPr lang="sv-SE" sz="1800" dirty="0" smtClean="0"/>
          </a:p>
          <a:p>
            <a:r>
              <a:rPr lang="sv-SE" sz="1800" dirty="0" smtClean="0"/>
              <a:t>astma </a:t>
            </a:r>
            <a:r>
              <a:rPr lang="sv-SE" sz="1800" dirty="0"/>
              <a:t>implementerats och fungerande </a:t>
            </a:r>
            <a:endParaRPr lang="sv-SE" sz="1800" dirty="0" smtClean="0"/>
          </a:p>
          <a:p>
            <a:r>
              <a:rPr lang="sv-SE" sz="1800" dirty="0"/>
              <a:t>	</a:t>
            </a:r>
            <a:r>
              <a:rPr lang="sv-SE" sz="1800" dirty="0" smtClean="0"/>
              <a:t> </a:t>
            </a:r>
          </a:p>
          <a:p>
            <a:r>
              <a:rPr lang="sv-SE" sz="1800" dirty="0" smtClean="0"/>
              <a:t>Sprida info rutiner vid regionmöte 7 nov </a:t>
            </a:r>
          </a:p>
          <a:p>
            <a:r>
              <a:rPr lang="sv-SE" sz="1800" dirty="0" smtClean="0"/>
              <a:t>Utmaningar </a:t>
            </a:r>
          </a:p>
          <a:p>
            <a:r>
              <a:rPr lang="sv-SE" sz="1800" dirty="0"/>
              <a:t>	</a:t>
            </a:r>
            <a:r>
              <a:rPr lang="sv-SE" sz="1700" dirty="0" smtClean="0"/>
              <a:t>Läkemedelsallergi </a:t>
            </a:r>
          </a:p>
          <a:p>
            <a:r>
              <a:rPr lang="sv-SE" sz="1700" dirty="0"/>
              <a:t>	</a:t>
            </a:r>
            <a:r>
              <a:rPr lang="sv-SE" sz="1700" dirty="0" smtClean="0"/>
              <a:t>Hur mäter vi kvalitet vid användning av biologiska lm? Lv </a:t>
            </a:r>
            <a:r>
              <a:rPr lang="sv-SE" sz="1700" dirty="0"/>
              <a:t>register????</a:t>
            </a:r>
          </a:p>
          <a:p>
            <a:r>
              <a:rPr lang="sv-SE" sz="1700" dirty="0" smtClean="0"/>
              <a:t>	Väntetider </a:t>
            </a:r>
            <a:endParaRPr lang="sv-SE" sz="17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1618" y="1315050"/>
            <a:ext cx="3462210" cy="259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5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PO Reumatiska sjukdomar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>Översiktlig </a:t>
            </a:r>
            <a:r>
              <a:rPr lang="sv-SE" sz="3200" dirty="0">
                <a:solidFill>
                  <a:schemeClr val="bg1"/>
                </a:solidFill>
              </a:rPr>
              <a:t>handlingsplan </a:t>
            </a:r>
            <a:r>
              <a:rPr lang="sv-SE" sz="3200" dirty="0" smtClean="0">
                <a:solidFill>
                  <a:schemeClr val="bg1"/>
                </a:solidFill>
              </a:rPr>
              <a:t>för 2024</a:t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/>
            </a:r>
            <a:br>
              <a:rPr lang="sv-SE" sz="3200" dirty="0" smtClean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: 2023-11-13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3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0" y="0"/>
          <a:ext cx="12191999" cy="557784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RA</a:t>
                      </a:r>
                    </a:p>
                    <a:p>
                      <a:r>
                        <a:rPr lang="sv-SE" sz="12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Jättecellsarterit</a:t>
                      </a:r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 (GCA)</a:t>
                      </a:r>
                    </a:p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Systemisk skleros</a:t>
                      </a:r>
                      <a:endParaRPr lang="sv-SE" sz="1200" b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kern="120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Erbjudas vård som är lätt tillgänglig för kontakt, bedömning och besök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årdförlopp RA och RA etablerad. Implementering</a:t>
                      </a:r>
                    </a:p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endParaRPr lang="sv-SE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sv-SE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årdförlopp GCA</a:t>
                      </a:r>
                      <a:r>
                        <a:rPr lang="sv-SE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sv-SE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Implementering.</a:t>
                      </a:r>
                      <a:endParaRPr lang="sv-SE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endParaRPr lang="sv-SE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sv-SE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ktlinje systemisk skleros. Genomgång i läkargrupperna. </a:t>
                      </a:r>
                      <a:r>
                        <a:rPr lang="sv-SE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plementering.</a:t>
                      </a:r>
                    </a:p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sv-SE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+mj-lt"/>
                        </a:rPr>
                        <a:t>Uppföljning i SRQ.</a:t>
                      </a:r>
                    </a:p>
                    <a:p>
                      <a:endParaRPr lang="sv-SE" sz="1100" dirty="0" smtClean="0"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 smtClean="0">
                          <a:latin typeface="+mj-lt"/>
                        </a:rPr>
                        <a:t>Regiondag GCA genomförd 19/10-23. </a:t>
                      </a:r>
                      <a:endParaRPr lang="sv-SE" sz="1100" baseline="0" dirty="0" smtClean="0">
                        <a:latin typeface="+mj-lt"/>
                      </a:endParaRPr>
                    </a:p>
                    <a:p>
                      <a:endParaRPr lang="sv-SE" sz="1100" baseline="0" dirty="0" smtClean="0">
                        <a:latin typeface="+mj-lt"/>
                      </a:endParaRPr>
                    </a:p>
                    <a:p>
                      <a:r>
                        <a:rPr lang="sv-SE" sz="1100" baseline="0" dirty="0" smtClean="0">
                          <a:latin typeface="+mj-lt"/>
                        </a:rPr>
                        <a:t>Workshop uppföljning vårdförlopp RA med sjukvårdsregionala samverkansgrupper, standardiserad vårdinformation, digital utveckling, stöd för utveckling samt kvalitetsregister, patientens kunskapsstöd 1/12-23</a:t>
                      </a:r>
                      <a:endParaRPr lang="sv-SE" sz="11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RA</a:t>
                      </a:r>
                    </a:p>
                    <a:p>
                      <a:r>
                        <a:rPr lang="sv-SE" sz="12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Jättecellsarterit</a:t>
                      </a:r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 (GCA)</a:t>
                      </a:r>
                    </a:p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Systemisk skleros</a:t>
                      </a:r>
                      <a:endParaRPr lang="sv-SE" sz="1200" b="0" baseline="0" dirty="0" smtClean="0">
                        <a:latin typeface="+mn-lt"/>
                      </a:endParaRPr>
                    </a:p>
                    <a:p>
                      <a:endParaRPr lang="sv-SE" sz="1200" b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diagnostik och behandling och uppföljning enligt bästa kunskap i varje möte </a:t>
                      </a:r>
                    </a:p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strera i SRQ, SSK hjälpa med registrering, </a:t>
                      </a:r>
                      <a:r>
                        <a:rPr lang="sv-SE" sz="12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</a:t>
                      </a:r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gen registrering.</a:t>
                      </a: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utbildning, Regionmöte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RQ, följa implementerade vårdförlopp och behandlingsriktlinjer enligt SRF.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bildning ST läkare, gemensam för regionens ST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pföljning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 SRQ</a:t>
                      </a:r>
                    </a:p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mic journal-mallar, förbereda koppling till SRQ</a:t>
                      </a:r>
                    </a:p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kutera uppföljning i RPO</a:t>
                      </a:r>
                    </a:p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kutera ST läkarutbildning i RPO, samordna.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RA</a:t>
                      </a:r>
                    </a:p>
                    <a:p>
                      <a:r>
                        <a:rPr lang="sv-SE" sz="12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Jättecellsarterit</a:t>
                      </a:r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 (GCA)</a:t>
                      </a:r>
                    </a:p>
                    <a:p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Systemisk skleros</a:t>
                      </a:r>
                      <a:endParaRPr lang="sv-SE" sz="12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b="0" i="1" dirty="0" smtClean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Få tillgång till jämlik vår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amverkan i SÖSR, följa vårdförlopp</a:t>
                      </a: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 och riktlinjer vid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regelbundna</a:t>
                      </a: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 möten i RPO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baseline="0" dirty="0" smtClean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e över möjligheter till samverkan gällande besök och tillgänglighe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baseline="0" dirty="0" smtClean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ölja upp tillgängligheten i regionen och fortsatt samarbete kring detta i RPO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r inte funnit möjligheter till samverkan avseende tillgänglighet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1510715"/>
            <a:ext cx="285750" cy="285750"/>
          </a:xfrm>
          <a:prstGeom prst="rect">
            <a:avLst/>
          </a:prstGeom>
          <a:solidFill>
            <a:srgbClr val="92D050"/>
          </a:solidFill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3412667"/>
            <a:ext cx="285750" cy="285750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4853304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41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0" y="0"/>
          <a:ext cx="12191999" cy="586374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364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bästa möjliga hälsofrämjande insatser och välfungerande screeningprogram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hab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ar påbörjat samarbete i SÖSR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vnadsvanor tas upp av SSK inom vårdförlopp RA samt på läkarbesök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 smtClean="0">
                          <a:latin typeface="+mj-lt"/>
                        </a:rPr>
                        <a:t>Stämma av med Rehab, resultat av möte på APT (Jönköping)</a:t>
                      </a:r>
                    </a:p>
                    <a:p>
                      <a:endParaRPr lang="sv-SE" sz="1100" dirty="0" smtClean="0">
                        <a:latin typeface="+mj-lt"/>
                      </a:endParaRPr>
                    </a:p>
                    <a:p>
                      <a:r>
                        <a:rPr lang="sv-SE" sz="1100" dirty="0" smtClean="0">
                          <a:latin typeface="+mj-lt"/>
                        </a:rPr>
                        <a:t>Följa upp levnadsvanor vid årskontroll RA</a:t>
                      </a:r>
                      <a:endParaRPr lang="sv-SE" sz="11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dirty="0" smtClean="0">
                          <a:latin typeface="+mn-lt"/>
                        </a:rPr>
                        <a:t>Revidering av befintliga kunskapsstöd, primärvårdsrekommendation för GCA och systemisk skleros</a:t>
                      </a:r>
                    </a:p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tillgång till patientsäker vård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era: </a:t>
                      </a:r>
                    </a:p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ardiserade vårdförlopp,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uppdaterade kunskapsstöd. Samarbete i NPO och RPO gällande remissbedömningar från NAG.</a:t>
                      </a: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arbete med tex primärvård, klinisk fysiologi, akutmottagning. 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a </a:t>
                      </a:r>
                      <a:r>
                        <a:rPr lang="sv-SE" sz="1200" b="0" i="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p vårdförlopp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sv-SE" sz="1200" b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tveckling av interaktivt patientstöd för hantering av dagligt liv och optimerad häls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sv-SE" sz="1400" b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Vara delaktig och välinformerad genom hela vårdkedjan </a:t>
                      </a:r>
                    </a:p>
                    <a:p>
                      <a:endParaRPr lang="sv-SE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G patientundervisning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arbete i RPO gällande remissbedömning.  </a:t>
                      </a:r>
                    </a:p>
                    <a:p>
                      <a:r>
                        <a:rPr lang="sv-SE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Utveckling av patientstöd. </a:t>
                      </a:r>
                    </a:p>
                    <a:p>
                      <a:r>
                        <a:rPr lang="sv-SE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Pilottestning och implementering Q4 2024.</a:t>
                      </a:r>
                    </a:p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Patientens kunskapsstöd RA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Deltagande av NAG patientundervisning vid RPO möte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Möte med grupp ”patientens kunskapsstöd”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endParaRPr lang="sv-SE" sz="12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Vara delaktig och välinformerad genom hela vårdkedjan </a:t>
                      </a:r>
                    </a:p>
                    <a:p>
                      <a:endParaRPr lang="sv-SE" sz="14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verkan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ed patientföreningar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ientmedverkan</a:t>
                      </a: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ukturerad information i samband med diagnos.</a:t>
                      </a: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gitaliserad patientinformation, samordnad information i SÖSR (patientens kunskapsstöd)</a:t>
                      </a: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Fortsatt kontakt NAG patientundervisning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Fortsatt kontakt med grupp ”patientens kunskapsstöd”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PER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Patientinformation 1177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6108347"/>
                  </a:ext>
                </a:extLst>
              </a:tr>
            </a:tbl>
          </a:graphicData>
        </a:graphic>
      </p:graphicFrame>
      <p:pic>
        <p:nvPicPr>
          <p:cNvPr id="3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1093749"/>
            <a:ext cx="285750" cy="285750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9010" y="2330373"/>
            <a:ext cx="285750" cy="28575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4751349"/>
            <a:ext cx="285750" cy="28575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9858" y="3619603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51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 smtClean="0"/>
              <a:t>Att hitta värdefulla arbetssätt och aktiviteter i RPO som är värdeskapande för patienten.</a:t>
            </a:r>
          </a:p>
          <a:p>
            <a:r>
              <a:rPr lang="sv-SE" sz="1800" dirty="0" smtClean="0"/>
              <a:t>Det är utmanande att få utdata och följa upp ex vårdförloppet.</a:t>
            </a:r>
          </a:p>
          <a:p>
            <a:r>
              <a:rPr lang="sv-SE" sz="1800" dirty="0" smtClean="0"/>
              <a:t>Tillgänglighet, undanträngningseffekt, resurser</a:t>
            </a:r>
          </a:p>
          <a:p>
            <a:endParaRPr lang="sv-SE" sz="1800" dirty="0" smtClean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323982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 smtClean="0"/>
              <a:t>PSVF-RA implementerad</a:t>
            </a:r>
          </a:p>
          <a:p>
            <a:r>
              <a:rPr lang="sv-SE" sz="1800" dirty="0" smtClean="0"/>
              <a:t>Regionmöten återstartade</a:t>
            </a:r>
          </a:p>
          <a:p>
            <a:r>
              <a:rPr lang="sv-SE" sz="1800" dirty="0" smtClean="0"/>
              <a:t>Gemensam digital ST-utbildning påbörjad</a:t>
            </a:r>
          </a:p>
          <a:p>
            <a:r>
              <a:rPr lang="sv-SE" sz="1800" dirty="0" smtClean="0"/>
              <a:t>Samverkan </a:t>
            </a:r>
            <a:r>
              <a:rPr lang="sv-SE" sz="1800" smtClean="0"/>
              <a:t>kring läkarstudenter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26909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Reumatologi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Patientens kunskapsstöd. Nationellt kunskapsstöd på uppdrag från NPO. Nu klart och ute som pilot i några regioner för att nästa år införas nationellt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Ökad digitalisering för ökad information och tillgänglighet via 1177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Ordförandeskapet RPO går över till Kalmar, Christian Dahl 2025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68841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Akut vård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T</a:t>
            </a:r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re insatsområden:</a:t>
            </a:r>
          </a:p>
          <a:p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Akutmottagning</a:t>
            </a:r>
          </a:p>
          <a:p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Prehospital vård</a:t>
            </a:r>
          </a:p>
          <a:p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Trauma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Möte med ordförande i RAG 9/12 för att uppdatera handlingsplan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2635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Nervsystemets sjukdomar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320480"/>
          </a:xfrm>
        </p:spPr>
        <p:txBody>
          <a:bodyPr>
            <a:noAutofit/>
          </a:bodyPr>
          <a:lstStyle/>
          <a:p>
            <a:endParaRPr lang="sv-SE" sz="1867" b="1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867" b="1" dirty="0">
                <a:latin typeface="+mj-lt"/>
                <a:ea typeface="Times New Roman" panose="02020603050405020304" pitchFamily="18" charset="0"/>
              </a:rPr>
              <a:t>Digitala möten 2 ggr/termin + årlig regiondag. Svenska Neurologiveckan i Linköping maj 2025.</a:t>
            </a:r>
          </a:p>
          <a:p>
            <a:endParaRPr lang="sv-SE" sz="1867" b="1" dirty="0">
              <a:latin typeface="+mj-lt"/>
              <a:ea typeface="Times New Roman" panose="02020603050405020304" pitchFamily="18" charset="0"/>
            </a:endParaRPr>
          </a:p>
          <a:p>
            <a:endParaRPr lang="sv-SE" sz="1867" b="1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867" b="1" dirty="0">
                <a:latin typeface="+mj-lt"/>
                <a:ea typeface="Times New Roman" panose="02020603050405020304" pitchFamily="18" charset="0"/>
              </a:rPr>
              <a:t>Insatsområde Läkemedel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867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867" dirty="0">
                <a:latin typeface="+mj-lt"/>
                <a:ea typeface="Times New Roman" panose="02020603050405020304" pitchFamily="18" charset="0"/>
              </a:rPr>
              <a:t>Diskussion om samordnings- och samsynsfrågor kring avancerad </a:t>
            </a:r>
            <a:r>
              <a:rPr lang="sv-SE" sz="1867" b="1" dirty="0">
                <a:latin typeface="+mj-lt"/>
                <a:ea typeface="Times New Roman" panose="02020603050405020304" pitchFamily="18" charset="0"/>
              </a:rPr>
              <a:t>behandling för Parkinsons sjukdom </a:t>
            </a:r>
            <a:r>
              <a:rPr lang="sv-SE" sz="1867" dirty="0">
                <a:latin typeface="+mj-lt"/>
                <a:ea typeface="Times New Roman" panose="02020603050405020304" pitchFamily="18" charset="0"/>
              </a:rPr>
              <a:t>(</a:t>
            </a:r>
            <a:r>
              <a:rPr lang="sv-SE" sz="1867" dirty="0" err="1">
                <a:latin typeface="+mj-lt"/>
                <a:ea typeface="Times New Roman" panose="02020603050405020304" pitchFamily="18" charset="0"/>
              </a:rPr>
              <a:t>Duodopa</a:t>
            </a:r>
            <a:r>
              <a:rPr lang="sv-SE" sz="1867" dirty="0">
                <a:latin typeface="+mj-lt"/>
                <a:ea typeface="Times New Roman" panose="02020603050405020304" pitchFamily="18" charset="0"/>
              </a:rPr>
              <a:t>) i SÖSR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867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867" dirty="0">
                <a:latin typeface="+mj-lt"/>
                <a:ea typeface="Times New Roman" panose="02020603050405020304" pitchFamily="18" charset="0"/>
              </a:rPr>
              <a:t>Påbörjad diskussion/information om </a:t>
            </a:r>
            <a:r>
              <a:rPr lang="sv-SE" sz="1867" b="1" dirty="0">
                <a:latin typeface="+mj-lt"/>
                <a:ea typeface="Times New Roman" panose="02020603050405020304" pitchFamily="18" charset="0"/>
              </a:rPr>
              <a:t>Kloka kliniska val </a:t>
            </a:r>
            <a:r>
              <a:rPr lang="sv-SE" sz="1867" dirty="0">
                <a:latin typeface="+mj-lt"/>
                <a:ea typeface="Times New Roman" panose="02020603050405020304" pitchFamily="18" charset="0"/>
              </a:rPr>
              <a:t>(ex läkemedelsgenomgångar antiepileptika enligt modell från Linköping).</a:t>
            </a:r>
          </a:p>
          <a:p>
            <a:endParaRPr lang="sv-SE" sz="1867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867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933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933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933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933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933" dirty="0">
              <a:latin typeface="+mj-lt"/>
              <a:ea typeface="Times New Roman" panose="02020603050405020304" pitchFamily="18" charset="0"/>
            </a:endParaRPr>
          </a:p>
          <a:p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3961949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 smtClean="0"/>
              <a:t>SÖSR information från RSL 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463494"/>
          </a:xfrm>
        </p:spPr>
        <p:txBody>
          <a:bodyPr>
            <a:normAutofit/>
          </a:bodyPr>
          <a:lstStyle/>
          <a:p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Jan-Erik Karlsson. 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369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Nervsystemets sjukdomar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173" y="1499659"/>
            <a:ext cx="11329259" cy="4320480"/>
          </a:xfrm>
        </p:spPr>
        <p:txBody>
          <a:bodyPr>
            <a:noAutofit/>
          </a:bodyPr>
          <a:lstStyle/>
          <a:p>
            <a:r>
              <a:rPr lang="sv-SE" sz="1600" b="1" dirty="0">
                <a:latin typeface="+mj-lt"/>
                <a:ea typeface="Times New Roman" panose="02020603050405020304" pitchFamily="18" charset="0"/>
              </a:rPr>
              <a:t>Insatsområde Stroke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600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600" dirty="0">
                <a:latin typeface="+mj-lt"/>
                <a:ea typeface="Times New Roman" panose="02020603050405020304" pitchFamily="18" charset="0"/>
              </a:rPr>
              <a:t>Arbete kring </a:t>
            </a:r>
            <a:r>
              <a:rPr lang="sv-SE" sz="1600" b="1" dirty="0">
                <a:latin typeface="+mj-lt"/>
                <a:ea typeface="Times New Roman" panose="02020603050405020304" pitchFamily="18" charset="0"/>
              </a:rPr>
              <a:t>strokeprocessen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i SÖSR med avseende på det akuta 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vårdflödet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. Implementering av DT-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perfusion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på alla sjukhus. Nödvändigt med utökad 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trombektomikapacitet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(särskilt uppdrag från centrumledning delegerat till NL + NK) för att öka antalet 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reperfusionsbehandlingar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(mål 20%).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600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600" b="1" dirty="0">
                <a:latin typeface="+mj-lt"/>
                <a:ea typeface="Times New Roman" panose="02020603050405020304" pitchFamily="18" charset="0"/>
              </a:rPr>
              <a:t>Insatsområde Epilepsi</a:t>
            </a:r>
          </a:p>
          <a:p>
            <a:endParaRPr lang="sv-SE" sz="1600" b="1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600" dirty="0">
                <a:latin typeface="+mj-lt"/>
                <a:ea typeface="Times New Roman" panose="02020603050405020304" pitchFamily="18" charset="0"/>
              </a:rPr>
              <a:t>Diskussion om ändrat arbetssätt med anledningar av de förändringar som blir följden av förlust av NHV-uppdrag för </a:t>
            </a:r>
            <a:r>
              <a:rPr lang="sv-SE" sz="1600" b="1" dirty="0">
                <a:latin typeface="+mj-lt"/>
                <a:ea typeface="Times New Roman" panose="02020603050405020304" pitchFamily="18" charset="0"/>
              </a:rPr>
              <a:t>epilepsikirurgi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i RÖ.</a:t>
            </a:r>
          </a:p>
          <a:p>
            <a:endParaRPr lang="sv-SE" sz="1600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1600" b="1" dirty="0">
                <a:latin typeface="+mj-lt"/>
                <a:ea typeface="Times New Roman" panose="02020603050405020304" pitchFamily="18" charset="0"/>
              </a:rPr>
              <a:t>Övriga aktuella frågor</a:t>
            </a:r>
          </a:p>
          <a:p>
            <a:pPr marL="914377" indent="-914377">
              <a:buFont typeface="Arial" panose="020B0604020202020204" pitchFamily="34" charset="0"/>
              <a:buChar char="•"/>
            </a:pPr>
            <a:r>
              <a:rPr lang="sv-SE" sz="1600" dirty="0">
                <a:latin typeface="+mj-lt"/>
                <a:ea typeface="Times New Roman" panose="02020603050405020304" pitchFamily="18" charset="0"/>
              </a:rPr>
              <a:t>Fluktuerande </a:t>
            </a:r>
            <a:r>
              <a:rPr lang="sv-SE" sz="1600" b="1" dirty="0">
                <a:latin typeface="+mj-lt"/>
                <a:ea typeface="Times New Roman" panose="02020603050405020304" pitchFamily="18" charset="0"/>
              </a:rPr>
              <a:t>operationskapacitet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NK.</a:t>
            </a:r>
          </a:p>
          <a:p>
            <a:pPr marL="914377" indent="-914377">
              <a:buFont typeface="Arial" panose="020B0604020202020204" pitchFamily="34" charset="0"/>
              <a:buChar char="•"/>
            </a:pP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Elektivt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vårdflöde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påverkas av vårdplatsbrist vilket </a:t>
            </a:r>
            <a:r>
              <a:rPr lang="sv-SE" sz="1600" b="1" dirty="0">
                <a:latin typeface="+mj-lt"/>
                <a:ea typeface="Times New Roman" panose="02020603050405020304" pitchFamily="18" charset="0"/>
              </a:rPr>
              <a:t>begränsar möjlighet att erbjuda högspecialiserad utredning/vård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 ex för </a:t>
            </a:r>
            <a:r>
              <a:rPr lang="sv-SE" sz="1600" dirty="0" err="1">
                <a:latin typeface="+mj-lt"/>
                <a:ea typeface="Times New Roman" panose="02020603050405020304" pitchFamily="18" charset="0"/>
              </a:rPr>
              <a:t>normaltryckshydrocefalus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.</a:t>
            </a:r>
          </a:p>
          <a:p>
            <a:pPr marL="914377" indent="-914377">
              <a:buFont typeface="Arial" panose="020B0604020202020204" pitchFamily="34" charset="0"/>
              <a:buChar char="•"/>
            </a:pPr>
            <a:r>
              <a:rPr lang="sv-SE" sz="1600" dirty="0">
                <a:latin typeface="+mj-lt"/>
                <a:ea typeface="Times New Roman" panose="02020603050405020304" pitchFamily="18" charset="0"/>
              </a:rPr>
              <a:t>Utveckling av den </a:t>
            </a:r>
            <a:r>
              <a:rPr lang="sv-SE" sz="1600" b="1" dirty="0">
                <a:latin typeface="+mj-lt"/>
                <a:ea typeface="Times New Roman" panose="02020603050405020304" pitchFamily="18" charset="0"/>
              </a:rPr>
              <a:t>neuromuskulära enheten </a:t>
            </a:r>
            <a:r>
              <a:rPr lang="sv-SE" sz="1600" dirty="0">
                <a:latin typeface="+mj-lt"/>
                <a:ea typeface="Times New Roman" panose="02020603050405020304" pitchFamily="18" charset="0"/>
              </a:rPr>
              <a:t>utifrån givet NHV-uppdrag till RÖ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1467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667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667" dirty="0">
              <a:latin typeface="+mj-lt"/>
              <a:ea typeface="Times New Roman" panose="02020603050405020304" pitchFamily="18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667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667" dirty="0">
              <a:latin typeface="+mj-lt"/>
              <a:ea typeface="Times New Roman" panose="02020603050405020304" pitchFamily="18" charset="0"/>
            </a:endParaRPr>
          </a:p>
          <a:p>
            <a:endParaRPr lang="sv-SE" sz="933" dirty="0"/>
          </a:p>
        </p:txBody>
      </p:sp>
    </p:spTree>
    <p:extLst>
      <p:ext uri="{BB962C8B-B14F-4D97-AF65-F5344CB8AC3E}">
        <p14:creationId xmlns:p14="http://schemas.microsoft.com/office/powerpoint/2010/main" val="18049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Infektionssjukdomar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Handlingsplan 2024: </a:t>
            </a:r>
            <a:r>
              <a:rPr lang="sv-SE" sz="2667" dirty="0"/>
              <a:t>Generellt fortsatt fokus på att bygga nätverk inom Sydöstra sjukvårdsregionen efter start av RPO Infektionssjukdomar för 4 år sedan. Uppstart av olika RAG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76977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0836" y="164637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Handlingsplan 2024 – RAG exempel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220756"/>
            <a:ext cx="10972800" cy="4800533"/>
          </a:xfrm>
        </p:spPr>
        <p:txBody>
          <a:bodyPr>
            <a:normAutofit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2400" dirty="0"/>
              <a:t>Hepatit – arbete med elimineringsplan Hepatit samt samverkan kring Sprututbytesmottagningar. Gemensamma kvalitetsindikatorer att följa (utgå från nationellt arbete)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2400" dirty="0" err="1"/>
              <a:t>Endokardit</a:t>
            </a:r>
            <a:r>
              <a:rPr lang="sv-SE" sz="2400" dirty="0"/>
              <a:t> – skapande av nätverk inom Sydöstra sjukvårdsregionen i syfte att lära av varandra och enas om kvalitetsindikatorer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2400" dirty="0" err="1"/>
              <a:t>Spesis</a:t>
            </a:r>
            <a:r>
              <a:rPr lang="sv-SE" sz="2400" dirty="0"/>
              <a:t> – lära av varandra avseende e-utbildningar och uttag av kvalitetsmått (kommit olika långt i regionerna)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2400" dirty="0"/>
              <a:t>S </a:t>
            </a:r>
            <a:r>
              <a:rPr lang="sv-SE" sz="2400" dirty="0" err="1"/>
              <a:t>Aureus</a:t>
            </a:r>
            <a:r>
              <a:rPr lang="sv-SE" sz="2400" dirty="0"/>
              <a:t> </a:t>
            </a:r>
            <a:r>
              <a:rPr lang="sv-SE" sz="2400" dirty="0" err="1"/>
              <a:t>bakteremier</a:t>
            </a:r>
            <a:r>
              <a:rPr lang="sv-SE" sz="2400" dirty="0"/>
              <a:t> – framtagande av gemensamma kvalitetsmått. Enkät om fakta kring våra olika arbetssätt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2400" dirty="0"/>
              <a:t>Tuberkulos och Strama – inväntar nationellt arbete i NAG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32611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0836" y="164637"/>
            <a:ext cx="10972800" cy="1143000"/>
          </a:xfrm>
        </p:spPr>
        <p:txBody>
          <a:bodyPr/>
          <a:lstStyle/>
          <a:p>
            <a:r>
              <a:rPr lang="sv-SE" dirty="0" smtClean="0"/>
              <a:t>Handlingsplan 2024 - Forsk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220756"/>
            <a:ext cx="10972800" cy="4800533"/>
          </a:xfrm>
        </p:spPr>
        <p:txBody>
          <a:bodyPr>
            <a:normAutofit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3200" dirty="0"/>
              <a:t>Samarbete sker inom olika forskningsprojekt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sv-SE" sz="3200" dirty="0"/>
              <a:t>Gemensamt nätverk för forskningssjuksköterskor pågår för erfarenhetsutbyte.</a:t>
            </a:r>
          </a:p>
        </p:txBody>
      </p:sp>
    </p:spTree>
    <p:extLst>
      <p:ext uri="{BB962C8B-B14F-4D97-AF65-F5344CB8AC3E}">
        <p14:creationId xmlns:p14="http://schemas.microsoft.com/office/powerpoint/2010/main" val="2926076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Endokrina Sjukdomar 2025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 fontScale="92500"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Per Forslund Per (nytt processtöd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Bertil Ekman, Norrköping/Linköping (NPO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Christina Hedman, Linköping (ny ordförande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ea typeface="Times New Roman" panose="02020603050405020304" pitchFamily="18" charset="0"/>
              </a:rPr>
              <a:t>Gustav Barkman, Jönköping</a:t>
            </a:r>
            <a:endParaRPr lang="sv-SE" sz="2667" dirty="0">
              <a:latin typeface="+mj-lt"/>
              <a:ea typeface="Times New Roman" panose="020206030504050203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Herbert </a:t>
            </a:r>
            <a:r>
              <a:rPr lang="sv-SE" sz="2667" dirty="0" err="1">
                <a:latin typeface="+mj-lt"/>
                <a:ea typeface="Times New Roman" panose="02020603050405020304" pitchFamily="18" charset="0"/>
              </a:rPr>
              <a:t>Krol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, Kalmar (NAG diabetes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Oskar Lindholm, Jönköping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>
                <a:latin typeface="+mj-lt"/>
                <a:ea typeface="Times New Roman" panose="02020603050405020304" pitchFamily="18" charset="0"/>
              </a:rPr>
              <a:t>Åsa Bratt, Kalmar (Svenska </a:t>
            </a:r>
            <a:r>
              <a:rPr lang="sv-SE" sz="2667" dirty="0" err="1">
                <a:latin typeface="+mj-lt"/>
                <a:ea typeface="Times New Roman" panose="02020603050405020304" pitchFamily="18" charset="0"/>
              </a:rPr>
              <a:t>endokrinologförenngen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)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2667" dirty="0" err="1">
                <a:latin typeface="+mj-lt"/>
                <a:ea typeface="Times New Roman" panose="02020603050405020304" pitchFamily="18" charset="0"/>
              </a:rPr>
              <a:t>Panagiota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 </a:t>
            </a:r>
            <a:r>
              <a:rPr lang="sv-SE" sz="2667" dirty="0" err="1">
                <a:latin typeface="+mj-lt"/>
                <a:ea typeface="Times New Roman" panose="02020603050405020304" pitchFamily="18" charset="0"/>
              </a:rPr>
              <a:t>Michalakoudi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, Linköping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614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358935" y="324027"/>
          <a:ext cx="11568727" cy="49371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3082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01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25391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66118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53779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0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85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Diabetes, glukossänkande läkemedel typ 2-diabetes</a:t>
                      </a:r>
                    </a:p>
                    <a:p>
                      <a:r>
                        <a:rPr lang="sv-SE" sz="12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 </a:t>
                      </a: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(Kunskapsstöd) </a:t>
                      </a:r>
                      <a:endParaRPr lang="sv-SE" sz="1200" b="1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Löfte – jämlik vård oavsett bostadsort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G Diabete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Införande under 2024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Redovisning på RAG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möte och regionalt möte</a:t>
                      </a: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Implementering och förvaltning 2025</a:t>
                      </a:r>
                      <a:endParaRPr lang="sv-SE" sz="1200" b="0" i="0" dirty="0" smtClean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3793">
                <a:tc>
                  <a:txBody>
                    <a:bodyPr/>
                    <a:lstStyle/>
                    <a:p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betes med högrisk för </a:t>
                      </a:r>
                      <a:r>
                        <a:rPr lang="sv-SE" sz="120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tsår</a:t>
                      </a: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Kunskapsstöd) </a:t>
                      </a:r>
                      <a:endParaRPr lang="sv-SE" sz="1200" b="1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öfte – jämlik vård oavsett bostadsort </a:t>
                      </a:r>
                    </a:p>
                    <a:p>
                      <a:endParaRPr lang="sv-SE" sz="1200" i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Redovisning på RAG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möte och regiondagar</a:t>
                      </a: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 10/11-23 och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Fortsatt implementering 2025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pertyreos</a:t>
                      </a: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Kunskapsstöd) 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öfte – jämlik vård oavsett bostadsort </a:t>
                      </a:r>
                    </a:p>
                    <a:p>
                      <a:pPr lvl="0"/>
                      <a:endParaRPr lang="sv-SE" sz="1200" b="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A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Redovisning på RAG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möte och regiondag 10/11-23 och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Förvaltning 2025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079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teoporos </a:t>
                      </a: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F</a:t>
                      </a:r>
                      <a:endParaRPr lang="sv-SE" sz="120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öfte – jämlik vård oavsett bostadsort </a:t>
                      </a:r>
                    </a:p>
                    <a:p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Bevakning implementering PSVF osteoporos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Lokala arbetsgrupper igång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Önskemål om RAG med flera RPO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Uppstart av RAG 2025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dirty="0" smtClean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dirty="0" smtClean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0102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esitas </a:t>
                      </a: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nskapsstöd) </a:t>
                      </a:r>
                    </a:p>
                    <a:p>
                      <a:endParaRPr lang="sv-SE" sz="1200" b="1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öfte – jämlik vård oavsett bostadsort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evakning. Remissvar 2025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Redovisning på RAG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möte</a:t>
                      </a: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 och Regiondagar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" name="Bildobjekt 8">
            <a:extLst>
              <a:ext uri="{FF2B5EF4-FFF2-40B4-BE49-F238E27FC236}">
                <a16:creationId xmlns:a16="http://schemas.microsoft.com/office/drawing/2014/main" id="{989F293B-8784-463B-89C4-E6709184DB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31746" y="2130783"/>
            <a:ext cx="428879" cy="466208"/>
          </a:xfrm>
          <a:prstGeom prst="rect">
            <a:avLst/>
          </a:prstGeom>
        </p:spPr>
      </p:pic>
      <p:sp>
        <p:nvSpPr>
          <p:cNvPr id="11" name="Ellips 10">
            <a:extLst>
              <a:ext uri="{FF2B5EF4-FFF2-40B4-BE49-F238E27FC236}">
                <a16:creationId xmlns:a16="http://schemas.microsoft.com/office/drawing/2014/main" id="{490E6260-AEE6-4373-A476-189928E04104}"/>
              </a:ext>
            </a:extLst>
          </p:cNvPr>
          <p:cNvSpPr/>
          <p:nvPr/>
        </p:nvSpPr>
        <p:spPr>
          <a:xfrm>
            <a:off x="11231744" y="3794803"/>
            <a:ext cx="476696" cy="466208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sv-S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16" name="Ellips 15">
            <a:extLst>
              <a:ext uri="{FF2B5EF4-FFF2-40B4-BE49-F238E27FC236}">
                <a16:creationId xmlns:a16="http://schemas.microsoft.com/office/drawing/2014/main" id="{490E6260-AEE6-4373-A476-189928E04104}"/>
              </a:ext>
            </a:extLst>
          </p:cNvPr>
          <p:cNvSpPr/>
          <p:nvPr/>
        </p:nvSpPr>
        <p:spPr>
          <a:xfrm>
            <a:off x="11270311" y="4505588"/>
            <a:ext cx="476696" cy="466208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sv-SE">
              <a:solidFill>
                <a:srgbClr val="FFFFFF"/>
              </a:solidFill>
              <a:latin typeface="Times New Roman"/>
            </a:endParaRPr>
          </a:p>
        </p:txBody>
      </p:sp>
      <p:pic>
        <p:nvPicPr>
          <p:cNvPr id="17" name="Bildobjekt 16">
            <a:extLst>
              <a:ext uri="{FF2B5EF4-FFF2-40B4-BE49-F238E27FC236}">
                <a16:creationId xmlns:a16="http://schemas.microsoft.com/office/drawing/2014/main" id="{9C3695A2-6039-4D1B-AC0C-8DB375BC54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3712" y="2956311"/>
            <a:ext cx="444945" cy="479171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C3695A2-6039-4D1B-AC0C-8DB375BC54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09606" y="1224851"/>
            <a:ext cx="444945" cy="479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563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/>
          </p:nvPr>
        </p:nvGraphicFramePr>
        <p:xfrm>
          <a:off x="89014" y="-209674"/>
          <a:ext cx="12102991" cy="633839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6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32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70263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8071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212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0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34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0" i="0" baseline="0" dirty="0" smtClean="0">
                          <a:latin typeface="+mn-lt"/>
                        </a:rPr>
                        <a:t>Socialstyrelsens riktlinjer för </a:t>
                      </a:r>
                      <a:r>
                        <a:rPr lang="sv-SE" sz="1200" b="0" i="0" baseline="0" dirty="0" err="1" smtClean="0">
                          <a:latin typeface="+mn-lt"/>
                        </a:rPr>
                        <a:t>NHVe</a:t>
                      </a:r>
                      <a:endParaRPr lang="sv-SE" sz="1200" b="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i="0" baseline="0" dirty="0" smtClean="0">
                          <a:latin typeface="+mn-lt"/>
                        </a:rPr>
                        <a:t>Högspecialiserad </a:t>
                      </a:r>
                      <a:r>
                        <a:rPr lang="sv-SE" sz="1200" i="0" baseline="0" dirty="0">
                          <a:latin typeface="+mn-lt"/>
                        </a:rPr>
                        <a:t>vård: </a:t>
                      </a:r>
                      <a:r>
                        <a:rPr lang="sv-SE" sz="1200" i="0" baseline="0" dirty="0" smtClean="0">
                          <a:latin typeface="+mn-lt"/>
                        </a:rPr>
                        <a:t>Könsdysfori, NET </a:t>
                      </a:r>
                      <a:r>
                        <a:rPr lang="sv-SE" sz="1200" i="0" baseline="0" dirty="0">
                          <a:latin typeface="+mn-lt"/>
                        </a:rPr>
                        <a:t>tumörer och O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vak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dirty="0">
                          <a:latin typeface="+mn-lt"/>
                        </a:rPr>
                        <a:t>löp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9475">
                <a:tc>
                  <a:txBody>
                    <a:bodyPr/>
                    <a:lstStyle/>
                    <a:p>
                      <a:r>
                        <a:rPr lang="sv-SE" sz="1300" b="0" i="0" dirty="0" smtClean="0">
                          <a:latin typeface="+mn-lt"/>
                        </a:rPr>
                        <a:t>Regionmöten</a:t>
                      </a:r>
                    </a:p>
                    <a:p>
                      <a:r>
                        <a:rPr lang="sv-SE" sz="1300" b="0" i="0" dirty="0" smtClean="0">
                          <a:latin typeface="+mn-lt"/>
                        </a:rPr>
                        <a:t>Läkarutbildningen 6 år</a:t>
                      </a:r>
                      <a:endParaRPr lang="sv-SE" sz="1300" b="0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dirty="0">
                          <a:latin typeface="+mn-lt"/>
                        </a:rPr>
                        <a:t>Samverkan och kompetensutveckling inom SÖSR</a:t>
                      </a:r>
                      <a:endParaRPr lang="sv-SE" sz="1200" i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latin typeface="+mn-lt"/>
                        </a:rPr>
                        <a:t>Sjukvårdsregionala möten, sedan hösten 2021 har dessutom olika TEMA stått i </a:t>
                      </a:r>
                      <a:r>
                        <a:rPr lang="sv-SE" sz="1200" i="0" dirty="0" smtClean="0">
                          <a:latin typeface="+mn-lt"/>
                        </a:rPr>
                        <a:t>fokus.</a:t>
                      </a:r>
                      <a:r>
                        <a:rPr lang="sv-SE" sz="1200" i="0" baseline="0" dirty="0" smtClean="0">
                          <a:latin typeface="+mn-lt"/>
                        </a:rPr>
                        <a:t>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dagar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latin typeface="+mn-lt"/>
                        </a:rPr>
                        <a:t>Ansvarsfördelning mellan de tre regionerna samt lära av varandra ökar alltmer och i takt med att Kunskapsstyrningens struktur vänder sig till RPO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 smtClean="0">
                          <a:latin typeface="+mn-lt"/>
                        </a:rPr>
                        <a:t>Läkarprogrammet utbyggt till 6 års utbildning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öpande</a:t>
                      </a: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nast 14-15/11-2024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 Norrköping.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36320">
                <a:tc>
                  <a:txBody>
                    <a:bodyPr/>
                    <a:lstStyle/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cialstyrelsens riktlinjer för graviditetsdiabetes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dirty="0">
                          <a:latin typeface="+mn-lt"/>
                        </a:rPr>
                        <a:t>Kvalitetsutveckla flöden och processer: GDM – mål förbättrad process och införande av nationella riktlinjer</a:t>
                      </a:r>
                      <a:endParaRPr lang="sv-SE" sz="12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endParaRPr lang="sv-SE" sz="1200" b="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akning</a:t>
                      </a: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al genomgång på regiondagar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vakning av ny svensk studie 2025.</a:t>
                      </a: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6082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latin typeface="+mn-lt"/>
                        </a:rPr>
                        <a:t>RAG grupper</a:t>
                      </a:r>
                      <a:endParaRPr lang="sv-SE" sz="1200" b="0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i="0" dirty="0">
                          <a:latin typeface="+mn-lt"/>
                        </a:rPr>
                        <a:t>RAG grupper</a:t>
                      </a:r>
                      <a:r>
                        <a:rPr lang="sv-SE" sz="1200" i="0" dirty="0" smtClean="0">
                          <a:latin typeface="+mn-lt"/>
                        </a:rPr>
                        <a:t>: hypofys, binjurar, Kalcium</a:t>
                      </a:r>
                      <a:r>
                        <a:rPr lang="sv-SE" sz="1200" i="0" baseline="0" dirty="0" smtClean="0">
                          <a:latin typeface="+mn-lt"/>
                        </a:rPr>
                        <a:t>, </a:t>
                      </a:r>
                      <a:r>
                        <a:rPr lang="sv-SE" sz="1200" i="0" baseline="0" dirty="0" err="1" smtClean="0">
                          <a:latin typeface="+mn-lt"/>
                        </a:rPr>
                        <a:t>tyreoidea</a:t>
                      </a:r>
                      <a:r>
                        <a:rPr lang="sv-SE" sz="1200" i="0" baseline="0" dirty="0" smtClean="0">
                          <a:latin typeface="+mn-lt"/>
                        </a:rPr>
                        <a:t>, diabetes</a:t>
                      </a: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latin typeface="+mn-lt"/>
                        </a:rPr>
                        <a:t>Fem pågående </a:t>
                      </a:r>
                      <a:r>
                        <a:rPr lang="sv-SE" sz="1200" i="0" dirty="0" smtClean="0">
                          <a:latin typeface="+mn-lt"/>
                        </a:rPr>
                        <a:t>grupper,.</a:t>
                      </a:r>
                      <a:r>
                        <a:rPr lang="sv-SE" sz="1200" i="0" baseline="0" dirty="0" smtClean="0">
                          <a:latin typeface="+mn-lt"/>
                        </a:rPr>
                        <a:t> Återstarta osteoporos 2025.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Att </a:t>
                      </a: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bygga metabolteamet och team för sällsynta </a:t>
                      </a: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jukdomar. </a:t>
                      </a:r>
                      <a:r>
                        <a:rPr lang="sv-SE" sz="1200" b="0" i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</a:t>
                      </a: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netiska ronder.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Löpande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baseline="0" dirty="0" smtClean="0">
                          <a:latin typeface="+mn-lt"/>
                        </a:rPr>
                        <a:t>Starta ny RAG osteoporos 2025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 smtClean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ällsynta diagnoser informerade på Endokrindagar nov 2024.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58720">
                <a:tc>
                  <a:txBody>
                    <a:bodyPr/>
                    <a:lstStyle/>
                    <a:p>
                      <a:r>
                        <a:rPr lang="sv-SE" sz="1300" b="0" i="0" dirty="0" smtClean="0">
                          <a:latin typeface="+mn-lt"/>
                        </a:rPr>
                        <a:t>Vårdprogram</a:t>
                      </a:r>
                      <a:r>
                        <a:rPr lang="sv-SE" sz="1300" b="0" i="0" baseline="0" dirty="0" smtClean="0">
                          <a:latin typeface="+mn-lt"/>
                        </a:rPr>
                        <a:t> Hypofys</a:t>
                      </a:r>
                      <a:endParaRPr lang="sv-SE" sz="1300" b="0" i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dirty="0">
                          <a:latin typeface="+mn-lt"/>
                        </a:rPr>
                        <a:t>Utveckla MDK: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Hypofys, endokrin,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dirty="0">
                          <a:latin typeface="+mn-lt"/>
                        </a:rPr>
                        <a:t>Mål förbättrad struktur och kvalitet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lutredovisning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å regionmöte 10/11-23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ppföljning regionmöte nov 2024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öpande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" name="Ellips 7">
            <a:extLst>
              <a:ext uri="{FF2B5EF4-FFF2-40B4-BE49-F238E27FC236}">
                <a16:creationId xmlns:a16="http://schemas.microsoft.com/office/drawing/2014/main" id="{500E179E-4916-481A-AE3F-20D20C0496C9}"/>
              </a:ext>
            </a:extLst>
          </p:cNvPr>
          <p:cNvSpPr/>
          <p:nvPr/>
        </p:nvSpPr>
        <p:spPr>
          <a:xfrm>
            <a:off x="11460830" y="788393"/>
            <a:ext cx="444945" cy="479171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sv-SE">
              <a:solidFill>
                <a:srgbClr val="FFFFFF"/>
              </a:solidFill>
              <a:latin typeface="Times New Roman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89F6E465-F0A5-494F-A8A0-D6574ABC3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4624" y="2122559"/>
            <a:ext cx="463539" cy="499196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C3695A2-6039-4D1B-AC0C-8DB375BC54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3709" y="3716336"/>
            <a:ext cx="444945" cy="479171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5EECDE05-E404-41A4-A720-603844D989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7037" y="4554699"/>
            <a:ext cx="472531" cy="508879"/>
          </a:xfrm>
          <a:prstGeom prst="rect">
            <a:avLst/>
          </a:prstGeom>
        </p:spPr>
      </p:pic>
      <p:sp>
        <p:nvSpPr>
          <p:cNvPr id="14" name="Ellips 13">
            <a:extLst>
              <a:ext uri="{FF2B5EF4-FFF2-40B4-BE49-F238E27FC236}">
                <a16:creationId xmlns:a16="http://schemas.microsoft.com/office/drawing/2014/main" id="{895B3CE7-DD0F-4347-8CD0-625CBE2CD6FB}"/>
              </a:ext>
            </a:extLst>
          </p:cNvPr>
          <p:cNvSpPr/>
          <p:nvPr/>
        </p:nvSpPr>
        <p:spPr>
          <a:xfrm>
            <a:off x="11433244" y="5377537"/>
            <a:ext cx="472531" cy="437219"/>
          </a:xfrm>
          <a:prstGeom prst="ellipse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sv-SE" dirty="0">
              <a:solidFill>
                <a:srgbClr val="FFFFFF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199809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sz="44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mråden för omvärldsbevakning och identifiering av behov 2025 (NPO-RPO)</a:t>
            </a:r>
            <a:r>
              <a:rPr lang="sv-SE" sz="54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/>
            </a:r>
            <a:br>
              <a:rPr lang="sv-SE" sz="54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 fontScale="32500" lnSpcReduction="20000"/>
          </a:bodyPr>
          <a:lstStyle/>
          <a:p>
            <a:pPr defTabSz="914377">
              <a:spcBef>
                <a:spcPts val="0"/>
              </a:spcBef>
              <a:defRPr/>
            </a:pPr>
            <a:endParaRPr lang="sv-SE" sz="48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defTabSz="914377">
              <a:spcBef>
                <a:spcPts val="0"/>
              </a:spcBef>
              <a:defRPr/>
            </a:pPr>
            <a:r>
              <a:rPr lang="sv-SE" sz="4000" b="1" dirty="0">
                <a:solidFill>
                  <a:srgbClr val="000000"/>
                </a:solidFill>
              </a:rPr>
              <a:t>Omvärldsbevakning av utveckling i sjukvårdsregionen/regioner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solidFill>
                  <a:srgbClr val="000000"/>
                </a:solidFill>
              </a:rPr>
              <a:t>NHV Könsdysfori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ea typeface="Calibri" panose="020F0502020204030204" pitchFamily="34" charset="0"/>
                <a:cs typeface="Times New Roman" panose="02020603050405020304" pitchFamily="18" charset="0"/>
              </a:rPr>
              <a:t>NHV </a:t>
            </a:r>
            <a:r>
              <a:rPr lang="sv-SE" sz="4000" dirty="0" err="1">
                <a:ea typeface="Calibri" panose="020F0502020204030204" pitchFamily="34" charset="0"/>
                <a:cs typeface="Times New Roman" panose="02020603050405020304" pitchFamily="18" charset="0"/>
              </a:rPr>
              <a:t>Osteogenesis</a:t>
            </a:r>
            <a:r>
              <a:rPr lang="sv-SE" sz="40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4000" dirty="0" err="1">
                <a:ea typeface="Calibri" panose="020F0502020204030204" pitchFamily="34" charset="0"/>
                <a:cs typeface="Times New Roman" panose="02020603050405020304" pitchFamily="18" charset="0"/>
              </a:rPr>
              <a:t>imperfecta</a:t>
            </a:r>
            <a:endParaRPr lang="sv-SE" sz="4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914377">
              <a:spcBef>
                <a:spcPts val="0"/>
              </a:spcBef>
              <a:defRPr/>
            </a:pPr>
            <a:endParaRPr lang="sv-SE" sz="40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defTabSz="914377">
              <a:spcBef>
                <a:spcPts val="0"/>
              </a:spcBef>
              <a:defRPr/>
            </a:pPr>
            <a:r>
              <a:rPr lang="sv-SE" sz="4000" dirty="0">
                <a:ea typeface="Times New Roman" panose="02020603050405020304" pitchFamily="18" charset="0"/>
                <a:cs typeface="Calibri" panose="020F0502020204030204" pitchFamily="34" charset="0"/>
              </a:rPr>
              <a:t>Primär aldosteronism 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solidFill>
                  <a:srgbClr val="000000"/>
                </a:solidFill>
              </a:rPr>
              <a:t>Behov</a:t>
            </a:r>
          </a:p>
          <a:p>
            <a:pPr defTabSz="914377">
              <a:spcBef>
                <a:spcPts val="0"/>
              </a:spcBef>
              <a:defRPr/>
            </a:pPr>
            <a:endParaRPr lang="sv-SE" sz="40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defTabSz="914377">
              <a:spcBef>
                <a:spcPts val="0"/>
              </a:spcBef>
              <a:defRPr/>
            </a:pPr>
            <a:r>
              <a:rPr lang="sv-SE" sz="4000" dirty="0">
                <a:ea typeface="Times New Roman" panose="02020603050405020304" pitchFamily="18" charset="0"/>
                <a:cs typeface="Times New Roman" panose="02020603050405020304" pitchFamily="18" charset="0"/>
              </a:rPr>
              <a:t>Manlig </a:t>
            </a:r>
            <a:r>
              <a:rPr lang="sv-SE" sz="40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hypogonadism</a:t>
            </a:r>
            <a:endParaRPr lang="sv-SE" sz="4000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solidFill>
                  <a:srgbClr val="000000"/>
                </a:solidFill>
              </a:rPr>
              <a:t>Behov</a:t>
            </a:r>
          </a:p>
          <a:p>
            <a:pPr defTabSz="914377">
              <a:spcBef>
                <a:spcPts val="0"/>
              </a:spcBef>
              <a:defRPr/>
            </a:pPr>
            <a:endParaRPr lang="sv-SE" sz="4000" dirty="0">
              <a:solidFill>
                <a:srgbClr val="000000"/>
              </a:solidFill>
            </a:endParaRPr>
          </a:p>
          <a:p>
            <a:pPr defTabSz="914377">
              <a:spcBef>
                <a:spcPts val="0"/>
              </a:spcBef>
              <a:defRPr/>
            </a:pPr>
            <a:r>
              <a:rPr lang="sv-SE" sz="4000" dirty="0">
                <a:ea typeface="Times New Roman" panose="02020603050405020304" pitchFamily="18" charset="0"/>
                <a:cs typeface="Times New Roman" panose="02020603050405020304" pitchFamily="18" charset="0"/>
              </a:rPr>
              <a:t>Ovanliga endokrina sjukdomar, bland annat kongenital binjurebarks hyperplasi (CAH)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solidFill>
                  <a:srgbClr val="000000"/>
                </a:solidFill>
              </a:rPr>
              <a:t>Behov</a:t>
            </a:r>
          </a:p>
          <a:p>
            <a:pPr defTabSz="914377">
              <a:spcBef>
                <a:spcPts val="0"/>
              </a:spcBef>
              <a:defRPr/>
            </a:pPr>
            <a:endParaRPr lang="sv-SE" sz="4000" dirty="0"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defTabSz="914377">
              <a:spcBef>
                <a:spcPts val="0"/>
              </a:spcBef>
              <a:defRPr/>
            </a:pPr>
            <a:r>
              <a:rPr lang="sv-SE" sz="4000" dirty="0">
                <a:ea typeface="Times New Roman" panose="02020603050405020304" pitchFamily="18" charset="0"/>
                <a:cs typeface="Calibri" panose="020F0502020204030204" pitchFamily="34" charset="0"/>
              </a:rPr>
              <a:t>Utredning av knölar i </a:t>
            </a:r>
            <a:r>
              <a:rPr lang="sv-SE" sz="4000" dirty="0" err="1">
                <a:ea typeface="Times New Roman" panose="02020603050405020304" pitchFamily="18" charset="0"/>
                <a:cs typeface="Calibri" panose="020F0502020204030204" pitchFamily="34" charset="0"/>
              </a:rPr>
              <a:t>tyreoidea</a:t>
            </a:r>
            <a:r>
              <a:rPr lang="sv-SE" sz="4000" dirty="0"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>
                <a:solidFill>
                  <a:srgbClr val="000000"/>
                </a:solidFill>
              </a:rPr>
              <a:t>Behov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sv-SE" sz="4000" dirty="0">
              <a:solidFill>
                <a:srgbClr val="000000"/>
              </a:solidFill>
            </a:endParaRP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/>
              <a:t>Initiering kunskapsstöd</a:t>
            </a:r>
          </a:p>
          <a:p>
            <a:pPr marL="639747" lvl="1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sv-SE" sz="4000" dirty="0"/>
              <a:t>unga personer med typ 2-diabetes</a:t>
            </a:r>
          </a:p>
          <a:p>
            <a:pPr marL="182558" indent="-182558" defTabSz="914377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sv-SE" sz="4000" dirty="0">
              <a:solidFill>
                <a:srgbClr val="000000"/>
              </a:solidFill>
            </a:endParaRPr>
          </a:p>
          <a:p>
            <a:pPr defTabSz="914377">
              <a:spcBef>
                <a:spcPts val="0"/>
              </a:spcBef>
              <a:defRPr/>
            </a:pPr>
            <a:endParaRPr lang="sv-SE" sz="4400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9175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2187"/>
            <a:ext cx="10972800" cy="1143000"/>
          </a:xfrm>
        </p:spPr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04219"/>
            <a:ext cx="10972800" cy="3744415"/>
          </a:xfrm>
        </p:spPr>
        <p:txBody>
          <a:bodyPr>
            <a:normAutofit lnSpcReduction="10000"/>
          </a:bodyPr>
          <a:lstStyle/>
          <a:p>
            <a:r>
              <a:rPr lang="sv-SE" sz="1800" dirty="0"/>
              <a:t>SVF osteoporos. Implementering ej klar. Olika rutiner i Sydöstra. Underkapacitet på DEXA finns. Frakturkoordinatorer ej utsedda. Ny RAG.</a:t>
            </a:r>
          </a:p>
          <a:p>
            <a:endParaRPr lang="sv-SE" sz="1800" dirty="0"/>
          </a:p>
          <a:p>
            <a:r>
              <a:rPr lang="sv-SE" sz="1800" dirty="0"/>
              <a:t>Högspecialiserad vård. </a:t>
            </a:r>
          </a:p>
          <a:p>
            <a:r>
              <a:rPr lang="sv-SE" sz="1800" dirty="0"/>
              <a:t>Könsdysfori klart. </a:t>
            </a:r>
            <a:r>
              <a:rPr lang="sv-SE" sz="1800" dirty="0" err="1"/>
              <a:t>Osteogenesis</a:t>
            </a:r>
            <a:r>
              <a:rPr lang="sv-SE" sz="1800" dirty="0"/>
              <a:t> </a:t>
            </a:r>
            <a:r>
              <a:rPr lang="sv-SE" sz="1800" dirty="0" err="1"/>
              <a:t>imperfecta</a:t>
            </a:r>
            <a:r>
              <a:rPr lang="sv-SE" sz="1800" dirty="0"/>
              <a:t> klart.</a:t>
            </a:r>
          </a:p>
          <a:p>
            <a:endParaRPr lang="sv-SE" sz="1800" dirty="0"/>
          </a:p>
          <a:p>
            <a:r>
              <a:rPr lang="sv-SE" sz="1800" dirty="0"/>
              <a:t>Neuroendokrina buktumörer och stora </a:t>
            </a:r>
            <a:r>
              <a:rPr lang="sv-SE" sz="1800" dirty="0" err="1"/>
              <a:t>feokromocytom</a:t>
            </a:r>
            <a:r>
              <a:rPr lang="sv-SE" sz="1800" dirty="0"/>
              <a:t>/</a:t>
            </a:r>
            <a:r>
              <a:rPr lang="sv-SE" sz="1800" dirty="0" err="1"/>
              <a:t>paragangliom</a:t>
            </a:r>
            <a:r>
              <a:rPr lang="sv-SE" sz="1800" dirty="0"/>
              <a:t> samt binjurecancer, multipel endokrin </a:t>
            </a:r>
            <a:r>
              <a:rPr lang="sv-SE" sz="1800" dirty="0" err="1"/>
              <a:t>neoplasi</a:t>
            </a:r>
            <a:r>
              <a:rPr lang="sv-SE" sz="1800" dirty="0"/>
              <a:t> skall tillhöra </a:t>
            </a:r>
            <a:r>
              <a:rPr lang="sv-SE" sz="1800" dirty="0" err="1"/>
              <a:t>högspecvård</a:t>
            </a:r>
            <a:r>
              <a:rPr lang="sv-SE" sz="1800" dirty="0"/>
              <a:t> där Linköping inte har tillstånd. Konsekvenser från april 2023 då </a:t>
            </a:r>
            <a:r>
              <a:rPr lang="sv-SE" sz="1800" dirty="0" err="1"/>
              <a:t>NHVe</a:t>
            </a:r>
            <a:r>
              <a:rPr lang="sv-SE" sz="1800" dirty="0"/>
              <a:t> började. </a:t>
            </a:r>
            <a:r>
              <a:rPr lang="sv-SE" sz="1800" dirty="0" err="1"/>
              <a:t>Samdiskussion</a:t>
            </a:r>
            <a:r>
              <a:rPr lang="sv-SE" sz="1800" dirty="0"/>
              <a:t> med RPO kirurgi, onkologi </a:t>
            </a:r>
            <a:r>
              <a:rPr lang="sv-SE" sz="1800" dirty="0" err="1"/>
              <a:t>mfl</a:t>
            </a:r>
            <a:r>
              <a:rPr lang="sv-SE" sz="1800" dirty="0"/>
              <a:t>.</a:t>
            </a:r>
          </a:p>
          <a:p>
            <a:endParaRPr lang="sv-SE" sz="1800" dirty="0"/>
          </a:p>
          <a:p>
            <a:r>
              <a:rPr lang="sv-SE" sz="1800" dirty="0"/>
              <a:t>Obesitas nytt område. Nationell arbetsgrupp utsedd 2023 och RAG obesitas behöver utvecklas. Kunskapsstöd klart 2025.</a:t>
            </a:r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549069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/>
          <a:lstStyle/>
          <a:p>
            <a:r>
              <a:rPr lang="sv-SE" dirty="0" smtClean="0"/>
              <a:t>RPO Hjärt- och Kärlsjukdomar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8"/>
            <a:ext cx="11329259" cy="4512501"/>
          </a:xfrm>
        </p:spPr>
        <p:txBody>
          <a:bodyPr>
            <a:normAutofit fontScale="40000" lnSpcReduction="2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3867" dirty="0">
                <a:latin typeface="+mj-lt"/>
                <a:ea typeface="Times New Roman" panose="02020603050405020304" pitchFamily="18" charset="0"/>
              </a:rPr>
              <a:t>NPO – handlingsplan 2025 – 2026 → RPO/LPO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Vårdförlopp Hjärtsvikt I och II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Vårdförlopp Kritisk 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benischemi</a:t>
            </a:r>
            <a:r>
              <a:rPr lang="sv-SE" sz="4667" dirty="0">
                <a:latin typeface="+mj-lt"/>
                <a:ea typeface="Times New Roman" panose="02020603050405020304" pitchFamily="18" charset="0"/>
              </a:rPr>
              <a:t> → RAG kärlkirurgi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Vårdförlopp Venös bensjukdom → RAG kärlkirurgi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Vårdriktlinjer sekundärprevention – kranskärl och 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benartärsjd</a:t>
            </a:r>
            <a:r>
              <a:rPr lang="sv-SE" sz="4667" dirty="0">
                <a:latin typeface="+mj-lt"/>
                <a:ea typeface="Times New Roman" panose="02020603050405020304" pitchFamily="18" charset="0"/>
              </a:rPr>
              <a:t>.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Under 2025 vårdförlopp Hypertoni klart/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ev</a:t>
            </a:r>
            <a:r>
              <a:rPr lang="sv-SE" sz="4667" dirty="0">
                <a:latin typeface="+mj-lt"/>
                <a:ea typeface="Times New Roman" panose="02020603050405020304" pitchFamily="18" charset="0"/>
              </a:rPr>
              <a:t> SoS 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prio</a:t>
            </a:r>
            <a:endParaRPr lang="sv-SE" sz="4667" dirty="0">
              <a:latin typeface="+mj-lt"/>
              <a:ea typeface="Times New Roman" panose="02020603050405020304" pitchFamily="18" charset="0"/>
            </a:endParaRP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Under 2025-26 – förmaksflimmer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Bukaortascreening → register? Uppföljning – kan det ske via RCC:s organisation?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sv-SE" sz="4400" dirty="0">
                <a:latin typeface="+mj-lt"/>
                <a:ea typeface="Times New Roman" panose="02020603050405020304" pitchFamily="18" charset="0"/>
              </a:rPr>
              <a:t>RPO – handlingsplan 2025, se ovan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Kloka kliniska val/lågvärdesvård → uppdrag: UKG efter klaffprotes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Sjukvårdsregionala riktlinjer → rensa bort + nya remiss och uppföljning vid ablationer, lipidsänkande läkemedel, PAH, 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amyloidos</a:t>
            </a:r>
            <a:r>
              <a:rPr lang="sv-SE" sz="4667" dirty="0">
                <a:latin typeface="+mj-lt"/>
                <a:ea typeface="Times New Roman" panose="02020603050405020304" pitchFamily="18" charset="0"/>
              </a:rPr>
              <a:t>, aortasjukdomar (uppdrag) → länkar till vårdgivarweb/vårdstöd,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EKG överföring – krypterat mail </a:t>
            </a:r>
            <a:r>
              <a:rPr lang="sv-SE" sz="4667" dirty="0" err="1">
                <a:latin typeface="+mj-lt"/>
                <a:ea typeface="Times New Roman" panose="02020603050405020304" pitchFamily="18" charset="0"/>
              </a:rPr>
              <a:t>istf</a:t>
            </a:r>
            <a:r>
              <a:rPr lang="sv-SE" sz="4667" dirty="0">
                <a:latin typeface="+mj-lt"/>
                <a:ea typeface="Times New Roman" panose="02020603050405020304" pitchFamily="18" charset="0"/>
              </a:rPr>
              <a:t> fax/egen mobil</a:t>
            </a:r>
          </a:p>
          <a:p>
            <a:pPr marL="1371566" lvl="1">
              <a:buFont typeface="Arial" panose="020B0604020202020204" pitchFamily="34" charset="0"/>
              <a:buChar char="•"/>
            </a:pPr>
            <a:r>
              <a:rPr lang="sv-SE" sz="4667" dirty="0">
                <a:latin typeface="+mj-lt"/>
                <a:ea typeface="Times New Roman" panose="02020603050405020304" pitchFamily="18" charset="0"/>
              </a:rPr>
              <a:t>Kardiologisk diagnostik; Nuläge? Tillgänglighet? Framtid?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10967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Reviderad uppdragsbeskrivning RPO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463494"/>
          </a:xfrm>
        </p:spPr>
        <p:txBody>
          <a:bodyPr>
            <a:normAutofit/>
          </a:bodyPr>
          <a:lstStyle/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  <p:pic>
        <p:nvPicPr>
          <p:cNvPr id="4" name="Platshållare för innehåll 4">
            <a:extLst>
              <a:ext uri="{FF2B5EF4-FFF2-40B4-BE49-F238E27FC236}">
                <a16:creationId xmlns:a16="http://schemas.microsoft.com/office/drawing/2014/main" id="{5F5AB1C2-32AB-FD76-0465-80BFBB1B42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4711" y="1499659"/>
            <a:ext cx="8452242" cy="4629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53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Uppföljning-gemensamt kunskapsråd 13/9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173" y="1900361"/>
            <a:ext cx="11329259" cy="4128459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800" dirty="0" smtClean="0"/>
              <a:t>Hur </a:t>
            </a:r>
            <a:r>
              <a:rPr lang="sv-SE" sz="2800" dirty="0"/>
              <a:t>gick diskussionerna kring kloka kliniska val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800" dirty="0" smtClean="0"/>
              <a:t>Vad </a:t>
            </a:r>
            <a:r>
              <a:rPr lang="sv-SE" sz="2800" dirty="0"/>
              <a:t>händer nu på hemmaplan inom era respektive RPO?</a:t>
            </a:r>
          </a:p>
          <a:p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6110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 smtClean="0"/>
              <a:t>Forskning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/>
          </a:bodyPr>
          <a:lstStyle/>
          <a:p>
            <a:r>
              <a:rPr lang="sv-SE" sz="2667" dirty="0" smtClean="0">
                <a:latin typeface="+mj-lt"/>
                <a:ea typeface="Times New Roman" panose="02020603050405020304" pitchFamily="18" charset="0"/>
              </a:rPr>
              <a:t>Joakim Alfredsson.</a:t>
            </a:r>
            <a:r>
              <a:rPr lang="sv-SE" sz="2667" dirty="0">
                <a:latin typeface="+mj-lt"/>
                <a:ea typeface="Times New Roman" panose="02020603050405020304" pitchFamily="18" charset="0"/>
              </a:rPr>
              <a:t>	</a:t>
            </a:r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11082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3" y="356659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 smtClean="0"/>
              <a:t>Mötestider 2025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582247"/>
          </a:xfrm>
        </p:spPr>
        <p:txBody>
          <a:bodyPr>
            <a:normAutofit/>
          </a:bodyPr>
          <a:lstStyle/>
          <a:p>
            <a:r>
              <a:rPr lang="sv-SE" sz="2400" dirty="0" smtClean="0"/>
              <a:t>Förslag</a:t>
            </a:r>
            <a:r>
              <a:rPr lang="sv-SE" sz="2400" dirty="0"/>
              <a:t>:</a:t>
            </a:r>
          </a:p>
          <a:p>
            <a:r>
              <a:rPr lang="sv-SE" sz="2400" b="1" dirty="0" smtClean="0"/>
              <a:t>Mars</a:t>
            </a:r>
          </a:p>
          <a:p>
            <a:r>
              <a:rPr lang="sv-SE" sz="2400" dirty="0" smtClean="0"/>
              <a:t>13/3 </a:t>
            </a:r>
            <a:r>
              <a:rPr lang="sv-SE" sz="2400" dirty="0"/>
              <a:t>alt 21/3, Fysiskt möte i Nässjö</a:t>
            </a:r>
          </a:p>
          <a:p>
            <a:r>
              <a:rPr lang="sv-SE" sz="2400" b="1" dirty="0" smtClean="0"/>
              <a:t>Maj</a:t>
            </a:r>
          </a:p>
          <a:p>
            <a:r>
              <a:rPr lang="sv-SE" sz="2400" dirty="0" smtClean="0"/>
              <a:t> </a:t>
            </a:r>
            <a:r>
              <a:rPr lang="sv-SE" sz="2400" dirty="0"/>
              <a:t>5/5 </a:t>
            </a:r>
            <a:r>
              <a:rPr lang="sv-SE" sz="2400" dirty="0" err="1"/>
              <a:t>em</a:t>
            </a:r>
            <a:r>
              <a:rPr lang="sv-SE" sz="2400" dirty="0"/>
              <a:t> alt. 6/5 alt.12/5 </a:t>
            </a:r>
            <a:r>
              <a:rPr lang="sv-SE" sz="2400" dirty="0" err="1"/>
              <a:t>em</a:t>
            </a:r>
            <a:endParaRPr lang="sv-SE" sz="2400" dirty="0"/>
          </a:p>
          <a:p>
            <a:r>
              <a:rPr lang="sv-SE" sz="2400" b="1" dirty="0" smtClean="0"/>
              <a:t>September</a:t>
            </a:r>
          </a:p>
          <a:p>
            <a:r>
              <a:rPr lang="sv-SE" sz="2400" dirty="0" smtClean="0"/>
              <a:t>Gemensamt </a:t>
            </a:r>
            <a:r>
              <a:rPr lang="sv-SE" sz="2400" dirty="0"/>
              <a:t>möte med samtliga KR i Nässjö 26/9</a:t>
            </a:r>
          </a:p>
          <a:p>
            <a:r>
              <a:rPr lang="sv-SE" sz="2400" b="1" dirty="0" smtClean="0"/>
              <a:t>November</a:t>
            </a:r>
          </a:p>
          <a:p>
            <a:r>
              <a:rPr lang="sv-SE" sz="2400" dirty="0" smtClean="0"/>
              <a:t> </a:t>
            </a:r>
            <a:r>
              <a:rPr lang="sv-SE" sz="2400" dirty="0"/>
              <a:t>10/11 </a:t>
            </a:r>
            <a:r>
              <a:rPr lang="sv-SE" sz="2400" dirty="0" err="1"/>
              <a:t>em</a:t>
            </a:r>
            <a:r>
              <a:rPr lang="sv-SE" sz="2400" dirty="0"/>
              <a:t> alt. 12/11 alt 17/11 </a:t>
            </a:r>
            <a:r>
              <a:rPr lang="sv-SE" sz="2400" dirty="0" err="1"/>
              <a:t>em</a:t>
            </a:r>
            <a:endParaRPr lang="sv-SE" sz="2400" dirty="0"/>
          </a:p>
          <a:p>
            <a:endParaRPr lang="sv-SE" sz="2400" dirty="0">
              <a:latin typeface="+mj-lt"/>
              <a:ea typeface="Times New Roman" panose="02020603050405020304" pitchFamily="18" charset="0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506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CA858EB-61EF-CDCC-C4BC-E14F79E27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610" y="301241"/>
            <a:ext cx="10972800" cy="1143000"/>
          </a:xfrm>
        </p:spPr>
        <p:txBody>
          <a:bodyPr/>
          <a:lstStyle/>
          <a:p>
            <a:r>
              <a:rPr lang="sv-SE" dirty="0" smtClean="0"/>
              <a:t>Övrig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D4348B8-6313-E751-4444-108726460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7381" y="1604797"/>
            <a:ext cx="11329259" cy="4128459"/>
          </a:xfrm>
        </p:spPr>
        <p:txBody>
          <a:bodyPr>
            <a:normAutofit/>
          </a:bodyPr>
          <a:lstStyle/>
          <a:p>
            <a:r>
              <a:rPr lang="sv-SE" sz="2800" dirty="0">
                <a:latin typeface="+mj-lt"/>
                <a:ea typeface="Times New Roman" panose="02020603050405020304" pitchFamily="18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91897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0E63E8E2-F1AA-779F-50DE-94BCF3FD07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25272" y="836713"/>
            <a:ext cx="9495197" cy="4872643"/>
          </a:xfr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844571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1FD8933C-7FEC-8109-D0DF-3A4E52F404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23392" y="2948948"/>
            <a:ext cx="10972800" cy="3030145"/>
          </a:xfrm>
          <a:ln>
            <a:solidFill>
              <a:schemeClr val="accent1"/>
            </a:solidFill>
          </a:ln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B41313E-1AD3-4A2C-02FC-4113DF4840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3" y="452670"/>
            <a:ext cx="6780612" cy="220824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6358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9686F310-4012-3863-4A68-958A55B43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414" y="644691"/>
            <a:ext cx="10320469" cy="468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40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3A0BBBD-1EA6-55F4-0D6F-6674548C5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827" y="548680"/>
            <a:ext cx="11074791" cy="1248139"/>
          </a:xfrm>
        </p:spPr>
        <p:txBody>
          <a:bodyPr>
            <a:normAutofit/>
          </a:bodyPr>
          <a:lstStyle/>
          <a:p>
            <a:r>
              <a:rPr lang="sv-SE" sz="3600" dirty="0"/>
              <a:t>Vara sakkunniga i samverkan med RSG Läkemedel</a:t>
            </a:r>
            <a:endParaRPr lang="sv-SE" i="1" dirty="0">
              <a:solidFill>
                <a:schemeClr val="accent1"/>
              </a:solidFill>
            </a:endParaRPr>
          </a:p>
        </p:txBody>
      </p:sp>
      <p:pic>
        <p:nvPicPr>
          <p:cNvPr id="9" name="Platshållare för innehåll 8">
            <a:extLst>
              <a:ext uri="{FF2B5EF4-FFF2-40B4-BE49-F238E27FC236}">
                <a16:creationId xmlns:a16="http://schemas.microsoft.com/office/drawing/2014/main" id="{04206A85-6938-B7DA-4B00-D4D91EB1DF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66835" y="2084851"/>
            <a:ext cx="9458331" cy="3599464"/>
          </a:xfr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512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4CCB9C-BB7C-41E2-1D1B-5A7B84A76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72883"/>
            <a:ext cx="109728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sv-SE" dirty="0" smtClean="0"/>
              <a:t>En översiktlig aktuell information från respektive RPO</a:t>
            </a:r>
            <a:br>
              <a:rPr lang="sv-SE" dirty="0" smtClean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182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gion Jönköpings län</Template>
  <TotalTime>259</TotalTime>
  <Words>3509</Words>
  <Application>Microsoft Office PowerPoint</Application>
  <PresentationFormat>Bredbild</PresentationFormat>
  <Paragraphs>721</Paragraphs>
  <Slides>43</Slides>
  <Notes>18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3</vt:i4>
      </vt:variant>
    </vt:vector>
  </HeadingPairs>
  <TitlesOfParts>
    <vt:vector size="55" baseType="lpstr">
      <vt:lpstr>Arial</vt:lpstr>
      <vt:lpstr>Bryant Regular</vt:lpstr>
      <vt:lpstr>Calibri</vt:lpstr>
      <vt:lpstr>Graphik</vt:lpstr>
      <vt:lpstr>Symbol</vt:lpstr>
      <vt:lpstr>Times New Roman</vt:lpstr>
      <vt:lpstr>Verdana</vt:lpstr>
      <vt:lpstr>1_Office-tema</vt:lpstr>
      <vt:lpstr>2_Office-tema</vt:lpstr>
      <vt:lpstr>3_Office-tema</vt:lpstr>
      <vt:lpstr>Office-tema</vt:lpstr>
      <vt:lpstr>think-cell Slide</vt:lpstr>
      <vt:lpstr>Kunskapsråd Medicin- och akutvård  25 november 2024</vt:lpstr>
      <vt:lpstr>Dagordning</vt:lpstr>
      <vt:lpstr>SÖSR information från RSL </vt:lpstr>
      <vt:lpstr>Reviderad uppdragsbeskrivning RPO</vt:lpstr>
      <vt:lpstr>PowerPoint-presentation</vt:lpstr>
      <vt:lpstr>PowerPoint-presentation</vt:lpstr>
      <vt:lpstr>PowerPoint-presentation</vt:lpstr>
      <vt:lpstr>Vara sakkunniga i samverkan med RSG Läkemedel</vt:lpstr>
      <vt:lpstr>En översiktlig aktuell information från respektive RPO </vt:lpstr>
      <vt:lpstr>RPO Lung- och allergisjukdomar  Översiktlig handlingsplan för 2024  Uppdaterad inför KR 241125  </vt:lpstr>
      <vt:lpstr>Regiondag i lung allergi med fokus på Akut och kronisk lungsjukdom med kloka kliniska val  7 nov 2024 Nässjö 98 deltagare     </vt:lpstr>
      <vt:lpstr> Lungprocessen i sydöstra  arbetssätt </vt:lpstr>
      <vt:lpstr>Tre insatsområden  </vt:lpstr>
      <vt:lpstr>PowerPoint-presentation</vt:lpstr>
      <vt:lpstr>PowerPoint-presentation</vt:lpstr>
      <vt:lpstr>PowerPoint-presentation</vt:lpstr>
      <vt:lpstr>PowerPoint-presentation</vt:lpstr>
      <vt:lpstr>Kloka kliniska val lungmedicin saker på gång  </vt:lpstr>
      <vt:lpstr>Take home message</vt:lpstr>
      <vt:lpstr>ILD</vt:lpstr>
      <vt:lpstr>Allergi </vt:lpstr>
      <vt:lpstr>RPO Reumatiska sjukdomar  Översiktlig handlingsplan för 2024  Uppdaterad: 2023-11-13</vt:lpstr>
      <vt:lpstr>PowerPoint-presentation</vt:lpstr>
      <vt:lpstr>PowerPoint-presentation</vt:lpstr>
      <vt:lpstr>Utmaningar</vt:lpstr>
      <vt:lpstr>Resultat </vt:lpstr>
      <vt:lpstr>RPO Reumatologi</vt:lpstr>
      <vt:lpstr>RPO Akut vård</vt:lpstr>
      <vt:lpstr>RPO Nervsystemets sjukdomar</vt:lpstr>
      <vt:lpstr>RPO Nervsystemets sjukdomar</vt:lpstr>
      <vt:lpstr>RPO Infektionssjukdomar</vt:lpstr>
      <vt:lpstr>Handlingsplan 2024 – RAG exempel</vt:lpstr>
      <vt:lpstr>Handlingsplan 2024 - Forskning</vt:lpstr>
      <vt:lpstr>Endokrina Sjukdomar 2025</vt:lpstr>
      <vt:lpstr>PowerPoint-presentation</vt:lpstr>
      <vt:lpstr>PowerPoint-presentation</vt:lpstr>
      <vt:lpstr>Områden för omvärldsbevakning och identifiering av behov 2025 (NPO-RPO) </vt:lpstr>
      <vt:lpstr>Utmaningar</vt:lpstr>
      <vt:lpstr>RPO Hjärt- och Kärlsjukdomar</vt:lpstr>
      <vt:lpstr>Uppföljning-gemensamt kunskapsråd 13/9</vt:lpstr>
      <vt:lpstr>Forskning</vt:lpstr>
      <vt:lpstr>Mötestider 2025</vt:lpstr>
      <vt:lpstr>Övrigt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skapsråd Medicin- och akutvård  25 november 2024</dc:title>
  <dc:creator>Kyhlberg Erica</dc:creator>
  <cp:lastModifiedBy>Kyhlberg Erica</cp:lastModifiedBy>
  <cp:revision>24</cp:revision>
  <dcterms:created xsi:type="dcterms:W3CDTF">2024-11-18T09:55:26Z</dcterms:created>
  <dcterms:modified xsi:type="dcterms:W3CDTF">2024-11-26T07:35:15Z</dcterms:modified>
</cp:coreProperties>
</file>